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trictFirstAndLastChars="0" embedTrueTypeFonts="1" saveSubsetFonts="1" autoCompressPictures="0">
  <p:sldMasterIdLst>
    <p:sldMasterId id="2147483684" r:id="rId1"/>
    <p:sldMasterId id="2147483686" r:id="rId2"/>
  </p:sldMasterIdLst>
  <p:notesMasterIdLst>
    <p:notesMasterId r:id="rId10"/>
  </p:notesMasterIdLst>
  <p:handoutMasterIdLst>
    <p:handoutMasterId r:id="rId11"/>
  </p:handoutMasterIdLst>
  <p:sldIdLst>
    <p:sldId id="1139" r:id="rId3"/>
    <p:sldId id="1541" r:id="rId4"/>
    <p:sldId id="984" r:id="rId5"/>
    <p:sldId id="1550" r:id="rId6"/>
    <p:sldId id="1551" r:id="rId7"/>
    <p:sldId id="1540" r:id="rId8"/>
    <p:sldId id="291" r:id="rId9"/>
  </p:sldIdLst>
  <p:sldSz cx="9144000" cy="6858000" type="screen4x3"/>
  <p:notesSz cx="7099300" cy="10234613"/>
  <p:embeddedFontLst>
    <p:embeddedFont>
      <p:font typeface="Calibri" panose="020F0502020204030204" pitchFamily="34" charset="0"/>
      <p:regular r:id="rId12"/>
      <p:bold r:id="rId13"/>
      <p:italic r:id="rId14"/>
      <p:boldItalic r:id="rId15"/>
    </p:embeddedFont>
  </p:embeddedFontLst>
  <p:custDataLst>
    <p:tags r:id="rId1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2" userDrawn="1">
          <p15:clr>
            <a:srgbClr val="A4A3A4"/>
          </p15:clr>
        </p15:guide>
        <p15:guide id="3" orient="horz" pos="3222" userDrawn="1">
          <p15:clr>
            <a:srgbClr val="A4A3A4"/>
          </p15:clr>
        </p15:guide>
        <p15:guide id="4" pos="2237" userDrawn="1">
          <p15:clr>
            <a:srgbClr val="A4A3A4"/>
          </p15:clr>
        </p15:guide>
        <p15:guide id="5" orient="horz" pos="3127" userDrawn="1">
          <p15:clr>
            <a:srgbClr val="A4A3A4"/>
          </p15:clr>
        </p15:guide>
        <p15:guide id="6" orient="horz" pos="3224" userDrawn="1">
          <p15:clr>
            <a:srgbClr val="A4A3A4"/>
          </p15:clr>
        </p15:guide>
        <p15:guide id="7" pos="2141" userDrawn="1">
          <p15:clr>
            <a:srgbClr val="A4A3A4"/>
          </p15:clr>
        </p15:guide>
        <p15:guide id="8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e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DCEA"/>
    <a:srgbClr val="C6D9F1"/>
    <a:srgbClr val="4F81BD"/>
    <a:srgbClr val="6EB1E1"/>
    <a:srgbClr val="48668B"/>
    <a:srgbClr val="4A688C"/>
    <a:srgbClr val="49678C"/>
    <a:srgbClr val="FF7F7E"/>
    <a:srgbClr val="FF6699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5010595-E9E7-4A92-917B-4BA5EB8343DA}">
  <a:tblStyle styleId="{F5010595-E9E7-4A92-917B-4BA5EB8343DA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818" autoAdjust="0"/>
    <p:restoredTop sz="95342" autoAdjust="0"/>
  </p:normalViewPr>
  <p:slideViewPr>
    <p:cSldViewPr snapToGrid="0">
      <p:cViewPr varScale="1">
        <p:scale>
          <a:sx n="69" d="100"/>
          <a:sy n="69" d="100"/>
        </p:scale>
        <p:origin x="1116" y="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26"/>
        <p:guide pos="2142"/>
        <p:guide orient="horz" pos="3222"/>
        <p:guide pos="2237"/>
        <p:guide orient="horz" pos="3127"/>
        <p:guide orient="horz" pos="3224"/>
        <p:guide pos="2141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2.fntdata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font" Target="fonts/font1.fntdata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font" Target="fonts/font4.fntdata"/><Relationship Id="rId10" Type="http://schemas.openxmlformats.org/officeDocument/2006/relationships/notesMaster" Target="notesMasters/notesMaster1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3.fntdata"/></Relationships>
</file>

<file path=ppt/diagrams/_rels/data3.xml.rels><?xml version="1.0" encoding="UTF-8" standalone="yes"?>
<Relationships xmlns="http://schemas.openxmlformats.org/package/2006/relationships"><Relationship Id="rId2" Type="http://schemas.microsoft.com/office/2007/relationships/hdphoto" Target="../media/hdphoto3.wdp"/><Relationship Id="rId1" Type="http://schemas.openxmlformats.org/officeDocument/2006/relationships/image" Target="../media/image12.png"/></Relationships>
</file>

<file path=ppt/diagrams/_rels/drawing3.xml.rels><?xml version="1.0" encoding="UTF-8" standalone="yes"?>
<Relationships xmlns="http://schemas.openxmlformats.org/package/2006/relationships"><Relationship Id="rId2" Type="http://schemas.microsoft.com/office/2007/relationships/hdphoto" Target="../media/hdphoto3.wdp"/><Relationship Id="rId1" Type="http://schemas.openxmlformats.org/officeDocument/2006/relationships/image" Target="../media/image1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0E941E4-D21E-4703-9F61-E517BA342B00}" type="doc">
      <dgm:prSet loTypeId="urn:microsoft.com/office/officeart/2005/8/layout/hProcess6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AE7DFFBB-C57B-45D8-934E-9FB906DC980A}">
      <dgm:prSet phldrT="[Testo]"/>
      <dgm:spPr>
        <a:solidFill>
          <a:srgbClr val="002060"/>
        </a:solidFill>
      </dgm:spPr>
      <dgm:t>
        <a:bodyPr/>
        <a:lstStyle/>
        <a:p>
          <a:r>
            <a:rPr lang="it-IT" dirty="0"/>
            <a:t>Maggio 2016</a:t>
          </a:r>
        </a:p>
      </dgm:t>
    </dgm:pt>
    <dgm:pt modelId="{F68E83A6-B870-4427-931E-DFA9A4E7BF5F}" type="parTrans" cxnId="{F743187F-7738-45C1-BDD6-E925FF1EE61F}">
      <dgm:prSet/>
      <dgm:spPr/>
      <dgm:t>
        <a:bodyPr/>
        <a:lstStyle/>
        <a:p>
          <a:endParaRPr lang="it-IT"/>
        </a:p>
      </dgm:t>
    </dgm:pt>
    <dgm:pt modelId="{6FEEC3C3-FC14-450C-BBC2-16B7DE5CF03C}" type="sibTrans" cxnId="{F743187F-7738-45C1-BDD6-E925FF1EE61F}">
      <dgm:prSet/>
      <dgm:spPr/>
      <dgm:t>
        <a:bodyPr/>
        <a:lstStyle/>
        <a:p>
          <a:endParaRPr lang="it-IT"/>
        </a:p>
      </dgm:t>
    </dgm:pt>
    <dgm:pt modelId="{E3B4ECE3-A6A7-4B49-9CB5-146424B01C93}">
      <dgm:prSet phldrT="[Testo]" custT="1"/>
      <dgm:spPr/>
      <dgm:t>
        <a:bodyPr/>
        <a:lstStyle/>
        <a:p>
          <a:pPr algn="l"/>
          <a:r>
            <a:rPr lang="it-IT" sz="1200" dirty="0">
              <a:solidFill>
                <a:srgbClr val="002060"/>
              </a:solidFill>
            </a:rPr>
            <a:t>Memorandum of </a:t>
          </a:r>
          <a:r>
            <a:rPr lang="it-IT" sz="1200" dirty="0" err="1">
              <a:solidFill>
                <a:srgbClr val="002060"/>
              </a:solidFill>
            </a:rPr>
            <a:t>Understanding</a:t>
          </a:r>
          <a:r>
            <a:rPr lang="it-IT" sz="1200" dirty="0">
              <a:solidFill>
                <a:srgbClr val="002060"/>
              </a:solidFill>
            </a:rPr>
            <a:t> – tappe preliminari di integrazione</a:t>
          </a:r>
        </a:p>
      </dgm:t>
    </dgm:pt>
    <dgm:pt modelId="{CDF39C90-49AE-4162-891F-85460961B956}" type="parTrans" cxnId="{F7F425B7-4DA6-4556-8B04-93FC702B9E47}">
      <dgm:prSet/>
      <dgm:spPr/>
      <dgm:t>
        <a:bodyPr/>
        <a:lstStyle/>
        <a:p>
          <a:endParaRPr lang="it-IT"/>
        </a:p>
      </dgm:t>
    </dgm:pt>
    <dgm:pt modelId="{63E43598-EF58-4C6D-B649-A9CE10CA2BD0}" type="sibTrans" cxnId="{F7F425B7-4DA6-4556-8B04-93FC702B9E47}">
      <dgm:prSet/>
      <dgm:spPr/>
      <dgm:t>
        <a:bodyPr/>
        <a:lstStyle/>
        <a:p>
          <a:endParaRPr lang="it-IT"/>
        </a:p>
      </dgm:t>
    </dgm:pt>
    <dgm:pt modelId="{84DC9CAA-C872-4111-BEC0-EEC377CE1A28}">
      <dgm:prSet phldrT="[Testo]"/>
      <dgm:spPr>
        <a:solidFill>
          <a:srgbClr val="002060"/>
        </a:solidFill>
      </dgm:spPr>
      <dgm:t>
        <a:bodyPr/>
        <a:lstStyle/>
        <a:p>
          <a:r>
            <a:rPr lang="it-IT" dirty="0"/>
            <a:t>Febbraio 2017</a:t>
          </a:r>
        </a:p>
      </dgm:t>
    </dgm:pt>
    <dgm:pt modelId="{B5A000EE-2B97-415D-80D7-F9BB6C9A3E04}" type="parTrans" cxnId="{81EC5E54-D410-49CA-B3CE-6EF4D8E71216}">
      <dgm:prSet/>
      <dgm:spPr/>
      <dgm:t>
        <a:bodyPr/>
        <a:lstStyle/>
        <a:p>
          <a:endParaRPr lang="it-IT"/>
        </a:p>
      </dgm:t>
    </dgm:pt>
    <dgm:pt modelId="{EDDBDA0E-FD29-429D-A5DB-518FD58E11D4}" type="sibTrans" cxnId="{81EC5E54-D410-49CA-B3CE-6EF4D8E71216}">
      <dgm:prSet/>
      <dgm:spPr/>
      <dgm:t>
        <a:bodyPr/>
        <a:lstStyle/>
        <a:p>
          <a:endParaRPr lang="it-IT"/>
        </a:p>
      </dgm:t>
    </dgm:pt>
    <dgm:pt modelId="{B3966914-299A-48B1-BB37-9D69CDDA5968}">
      <dgm:prSet phldrT="[Testo]" custT="1"/>
      <dgm:spPr/>
      <dgm:t>
        <a:bodyPr/>
        <a:lstStyle/>
        <a:p>
          <a:pPr algn="l"/>
          <a:r>
            <a:rPr lang="it-IT" sz="1200" dirty="0">
              <a:solidFill>
                <a:srgbClr val="002060"/>
              </a:solidFill>
            </a:rPr>
            <a:t>Lettera d’Intenti – definizione nuova configurazione</a:t>
          </a:r>
        </a:p>
      </dgm:t>
    </dgm:pt>
    <dgm:pt modelId="{BF63CDE6-3C9B-4897-8600-DF71FC1ADA76}" type="parTrans" cxnId="{35DD8AB2-ECEE-4078-AE08-254C4BB758ED}">
      <dgm:prSet/>
      <dgm:spPr/>
      <dgm:t>
        <a:bodyPr/>
        <a:lstStyle/>
        <a:p>
          <a:endParaRPr lang="it-IT"/>
        </a:p>
      </dgm:t>
    </dgm:pt>
    <dgm:pt modelId="{12FF65E9-FEB6-424C-83E5-F90F97D4CD0E}" type="sibTrans" cxnId="{35DD8AB2-ECEE-4078-AE08-254C4BB758ED}">
      <dgm:prSet/>
      <dgm:spPr/>
      <dgm:t>
        <a:bodyPr/>
        <a:lstStyle/>
        <a:p>
          <a:endParaRPr lang="it-IT"/>
        </a:p>
      </dgm:t>
    </dgm:pt>
    <dgm:pt modelId="{84C23D48-2239-4007-81A1-C35427491C0D}">
      <dgm:prSet phldrT="[Testo]"/>
      <dgm:spPr>
        <a:solidFill>
          <a:srgbClr val="002060"/>
        </a:solidFill>
      </dgm:spPr>
      <dgm:t>
        <a:bodyPr/>
        <a:lstStyle/>
        <a:p>
          <a:r>
            <a:rPr lang="it-IT" dirty="0"/>
            <a:t>Maggio 2017</a:t>
          </a:r>
        </a:p>
      </dgm:t>
    </dgm:pt>
    <dgm:pt modelId="{60663B35-9AF4-4B12-B0D8-FF113F8F52C8}" type="parTrans" cxnId="{843BCEE9-D0CB-43B6-9B5C-662AF2736064}">
      <dgm:prSet/>
      <dgm:spPr/>
      <dgm:t>
        <a:bodyPr/>
        <a:lstStyle/>
        <a:p>
          <a:endParaRPr lang="it-IT"/>
        </a:p>
      </dgm:t>
    </dgm:pt>
    <dgm:pt modelId="{7DF1E516-3330-45C0-8B7D-3620FA00B968}" type="sibTrans" cxnId="{843BCEE9-D0CB-43B6-9B5C-662AF2736064}">
      <dgm:prSet/>
      <dgm:spPr/>
      <dgm:t>
        <a:bodyPr/>
        <a:lstStyle/>
        <a:p>
          <a:endParaRPr lang="it-IT"/>
        </a:p>
      </dgm:t>
    </dgm:pt>
    <dgm:pt modelId="{A92649D1-4444-4476-A1A8-245CF99EE44A}">
      <dgm:prSet phldrT="[Testo]" custT="1"/>
      <dgm:spPr/>
      <dgm:t>
        <a:bodyPr/>
        <a:lstStyle/>
        <a:p>
          <a:pPr algn="l"/>
          <a:r>
            <a:rPr lang="it-IT" sz="1200" dirty="0">
              <a:solidFill>
                <a:srgbClr val="002060"/>
              </a:solidFill>
            </a:rPr>
            <a:t>Fusione per </a:t>
          </a:r>
          <a:r>
            <a:rPr lang="it-IT" sz="1200" dirty="0" err="1">
              <a:solidFill>
                <a:srgbClr val="002060"/>
              </a:solidFill>
            </a:rPr>
            <a:t>incorporazioneNasce</a:t>
          </a:r>
          <a:r>
            <a:rPr lang="it-IT" sz="1200" dirty="0">
              <a:solidFill>
                <a:srgbClr val="002060"/>
              </a:solidFill>
            </a:rPr>
            <a:t> Elettricità Futura</a:t>
          </a:r>
        </a:p>
      </dgm:t>
    </dgm:pt>
    <dgm:pt modelId="{B4A74A5A-C185-45DE-8151-0870461BDA60}" type="parTrans" cxnId="{933EC1EB-8CE3-4158-BB57-651C95EA1264}">
      <dgm:prSet/>
      <dgm:spPr/>
      <dgm:t>
        <a:bodyPr/>
        <a:lstStyle/>
        <a:p>
          <a:endParaRPr lang="it-IT"/>
        </a:p>
      </dgm:t>
    </dgm:pt>
    <dgm:pt modelId="{1BEF66DF-7159-4703-B31B-9BEEB0AF2D5C}" type="sibTrans" cxnId="{933EC1EB-8CE3-4158-BB57-651C95EA1264}">
      <dgm:prSet/>
      <dgm:spPr/>
      <dgm:t>
        <a:bodyPr/>
        <a:lstStyle/>
        <a:p>
          <a:endParaRPr lang="it-IT"/>
        </a:p>
      </dgm:t>
    </dgm:pt>
    <dgm:pt modelId="{9015AE4F-B8FA-480A-9526-47A3525FF87C}" type="pres">
      <dgm:prSet presAssocID="{90E941E4-D21E-4703-9F61-E517BA342B00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D64454D1-7E07-4D9C-9276-B3126BBA3C18}" type="pres">
      <dgm:prSet presAssocID="{AE7DFFBB-C57B-45D8-934E-9FB906DC980A}" presName="compNode" presStyleCnt="0"/>
      <dgm:spPr/>
    </dgm:pt>
    <dgm:pt modelId="{5492371B-1B2D-4B3A-AF18-B5C746900319}" type="pres">
      <dgm:prSet presAssocID="{AE7DFFBB-C57B-45D8-934E-9FB906DC980A}" presName="noGeometry" presStyleCnt="0"/>
      <dgm:spPr/>
    </dgm:pt>
    <dgm:pt modelId="{E4B75BD3-8AF5-44BD-B24E-7A64E19B1792}" type="pres">
      <dgm:prSet presAssocID="{AE7DFFBB-C57B-45D8-934E-9FB906DC980A}" presName="childTextVisible" presStyleLbl="bgAccFollowNode1" presStyleIdx="0" presStyleCnt="3" custLinFactNeighborX="-424" custLinFactNeighborY="-1919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3BD31DC-9ED0-4E0C-8A8D-9D7D2CD7F445}" type="pres">
      <dgm:prSet presAssocID="{AE7DFFBB-C57B-45D8-934E-9FB906DC980A}" presName="childTextHidden" presStyleLbl="bgAccFollowNode1" presStyleIdx="0" presStyleCnt="3"/>
      <dgm:spPr/>
      <dgm:t>
        <a:bodyPr/>
        <a:lstStyle/>
        <a:p>
          <a:endParaRPr lang="it-IT"/>
        </a:p>
      </dgm:t>
    </dgm:pt>
    <dgm:pt modelId="{1B751071-FE5F-4CD3-AD09-06B3ACE94E67}" type="pres">
      <dgm:prSet presAssocID="{AE7DFFBB-C57B-45D8-934E-9FB906DC980A}" presName="parentText" presStyleLbl="node1" presStyleIdx="0" presStyleCnt="3" custLinFactNeighborX="-379" custLinFactNeighborY="-70963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6D607F55-B6F0-4682-BBCA-A8115B6B926A}" type="pres">
      <dgm:prSet presAssocID="{AE7DFFBB-C57B-45D8-934E-9FB906DC980A}" presName="aSpace" presStyleCnt="0"/>
      <dgm:spPr/>
    </dgm:pt>
    <dgm:pt modelId="{B0BE4DD4-E179-49BF-8FDF-4DA89552AF05}" type="pres">
      <dgm:prSet presAssocID="{84DC9CAA-C872-4111-BEC0-EEC377CE1A28}" presName="compNode" presStyleCnt="0"/>
      <dgm:spPr/>
    </dgm:pt>
    <dgm:pt modelId="{400F3873-E6E5-410C-ACD3-385396EACD92}" type="pres">
      <dgm:prSet presAssocID="{84DC9CAA-C872-4111-BEC0-EEC377CE1A28}" presName="noGeometry" presStyleCnt="0"/>
      <dgm:spPr/>
    </dgm:pt>
    <dgm:pt modelId="{8AD53FF4-3F3F-4580-BA9B-7C932F70E621}" type="pres">
      <dgm:prSet presAssocID="{84DC9CAA-C872-4111-BEC0-EEC377CE1A28}" presName="childTextVisible" presStyleLbl="bgAccFollowNode1" presStyleIdx="1" presStyleCnt="3" custLinFactNeighborX="-6807" custLinFactNeighborY="-16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81A7CF1-BB3D-4BC9-B744-1CA6709F0DD9}" type="pres">
      <dgm:prSet presAssocID="{84DC9CAA-C872-4111-BEC0-EEC377CE1A28}" presName="childTextHidden" presStyleLbl="bgAccFollowNode1" presStyleIdx="1" presStyleCnt="3"/>
      <dgm:spPr/>
      <dgm:t>
        <a:bodyPr/>
        <a:lstStyle/>
        <a:p>
          <a:endParaRPr lang="it-IT"/>
        </a:p>
      </dgm:t>
    </dgm:pt>
    <dgm:pt modelId="{2D4D6BA8-0EB6-4ACF-8A84-19FE429DC5B4}" type="pres">
      <dgm:prSet presAssocID="{84DC9CAA-C872-4111-BEC0-EEC377CE1A28}" presName="parentText" presStyleLbl="node1" presStyleIdx="1" presStyleCnt="3" custLinFactNeighborX="-16798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C332118-BA6A-4EC7-AB22-EBA33D35C121}" type="pres">
      <dgm:prSet presAssocID="{84DC9CAA-C872-4111-BEC0-EEC377CE1A28}" presName="aSpace" presStyleCnt="0"/>
      <dgm:spPr/>
    </dgm:pt>
    <dgm:pt modelId="{1C9C7E99-8796-48B0-9DB4-51A36F1109B0}" type="pres">
      <dgm:prSet presAssocID="{84C23D48-2239-4007-81A1-C35427491C0D}" presName="compNode" presStyleCnt="0"/>
      <dgm:spPr/>
    </dgm:pt>
    <dgm:pt modelId="{A9AC5102-2F4E-4952-AEAA-8CBCBFF711FF}" type="pres">
      <dgm:prSet presAssocID="{84C23D48-2239-4007-81A1-C35427491C0D}" presName="noGeometry" presStyleCnt="0"/>
      <dgm:spPr/>
    </dgm:pt>
    <dgm:pt modelId="{485A20BD-19A8-4B1B-8622-ED463F587245}" type="pres">
      <dgm:prSet presAssocID="{84C23D48-2239-4007-81A1-C35427491C0D}" presName="childTextVisible" presStyleLbl="bgAccFollowNode1" presStyleIdx="2" presStyleCnt="3" custLinFactNeighborX="189" custLinFactNeighborY="13709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23CC9E0-1638-4950-9C96-5B9EBEF4D80F}" type="pres">
      <dgm:prSet presAssocID="{84C23D48-2239-4007-81A1-C35427491C0D}" presName="childTextHidden" presStyleLbl="bgAccFollowNode1" presStyleIdx="2" presStyleCnt="3"/>
      <dgm:spPr/>
      <dgm:t>
        <a:bodyPr/>
        <a:lstStyle/>
        <a:p>
          <a:endParaRPr lang="it-IT"/>
        </a:p>
      </dgm:t>
    </dgm:pt>
    <dgm:pt modelId="{F36411E5-53D7-4A1D-8220-06B38D811A3C}" type="pres">
      <dgm:prSet presAssocID="{84C23D48-2239-4007-81A1-C35427491C0D}" presName="parentText" presStyleLbl="node1" presStyleIdx="2" presStyleCnt="3" custLinFactNeighborX="-6792" custLinFactNeighborY="30060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FB506125-C1A0-4D3B-A7C9-6713C262216F}" type="presOf" srcId="{B3966914-299A-48B1-BB37-9D69CDDA5968}" destId="{581A7CF1-BB3D-4BC9-B744-1CA6709F0DD9}" srcOrd="1" destOrd="0" presId="urn:microsoft.com/office/officeart/2005/8/layout/hProcess6"/>
    <dgm:cxn modelId="{9855A9F9-BE07-44EF-BDA8-7BC83B75D6ED}" type="presOf" srcId="{84C23D48-2239-4007-81A1-C35427491C0D}" destId="{F36411E5-53D7-4A1D-8220-06B38D811A3C}" srcOrd="0" destOrd="0" presId="urn:microsoft.com/office/officeart/2005/8/layout/hProcess6"/>
    <dgm:cxn modelId="{4A7F0034-EA17-4945-A619-93551FCF4069}" type="presOf" srcId="{AE7DFFBB-C57B-45D8-934E-9FB906DC980A}" destId="{1B751071-FE5F-4CD3-AD09-06B3ACE94E67}" srcOrd="0" destOrd="0" presId="urn:microsoft.com/office/officeart/2005/8/layout/hProcess6"/>
    <dgm:cxn modelId="{F743187F-7738-45C1-BDD6-E925FF1EE61F}" srcId="{90E941E4-D21E-4703-9F61-E517BA342B00}" destId="{AE7DFFBB-C57B-45D8-934E-9FB906DC980A}" srcOrd="0" destOrd="0" parTransId="{F68E83A6-B870-4427-931E-DFA9A4E7BF5F}" sibTransId="{6FEEC3C3-FC14-450C-BBC2-16B7DE5CF03C}"/>
    <dgm:cxn modelId="{2EB66748-6921-4C21-9EA3-6F28D19D7041}" type="presOf" srcId="{B3966914-299A-48B1-BB37-9D69CDDA5968}" destId="{8AD53FF4-3F3F-4580-BA9B-7C932F70E621}" srcOrd="0" destOrd="0" presId="urn:microsoft.com/office/officeart/2005/8/layout/hProcess6"/>
    <dgm:cxn modelId="{933EC1EB-8CE3-4158-BB57-651C95EA1264}" srcId="{84C23D48-2239-4007-81A1-C35427491C0D}" destId="{A92649D1-4444-4476-A1A8-245CF99EE44A}" srcOrd="0" destOrd="0" parTransId="{B4A74A5A-C185-45DE-8151-0870461BDA60}" sibTransId="{1BEF66DF-7159-4703-B31B-9BEEB0AF2D5C}"/>
    <dgm:cxn modelId="{43F1FB7D-A76E-4446-BB16-C6CE54DB0E12}" type="presOf" srcId="{90E941E4-D21E-4703-9F61-E517BA342B00}" destId="{9015AE4F-B8FA-480A-9526-47A3525FF87C}" srcOrd="0" destOrd="0" presId="urn:microsoft.com/office/officeart/2005/8/layout/hProcess6"/>
    <dgm:cxn modelId="{8009BBA6-7862-49B9-A038-953DD07401B3}" type="presOf" srcId="{A92649D1-4444-4476-A1A8-245CF99EE44A}" destId="{485A20BD-19A8-4B1B-8622-ED463F587245}" srcOrd="0" destOrd="0" presId="urn:microsoft.com/office/officeart/2005/8/layout/hProcess6"/>
    <dgm:cxn modelId="{B32927F3-6AEC-4665-87C2-D19D998C11B1}" type="presOf" srcId="{E3B4ECE3-A6A7-4B49-9CB5-146424B01C93}" destId="{E4B75BD3-8AF5-44BD-B24E-7A64E19B1792}" srcOrd="0" destOrd="0" presId="urn:microsoft.com/office/officeart/2005/8/layout/hProcess6"/>
    <dgm:cxn modelId="{3E895441-AF21-4423-91BB-0D8D2C9820C1}" type="presOf" srcId="{A92649D1-4444-4476-A1A8-245CF99EE44A}" destId="{123CC9E0-1638-4950-9C96-5B9EBEF4D80F}" srcOrd="1" destOrd="0" presId="urn:microsoft.com/office/officeart/2005/8/layout/hProcess6"/>
    <dgm:cxn modelId="{FDDC661F-03C7-487A-93B0-63E5D3D9CFDE}" type="presOf" srcId="{84DC9CAA-C872-4111-BEC0-EEC377CE1A28}" destId="{2D4D6BA8-0EB6-4ACF-8A84-19FE429DC5B4}" srcOrd="0" destOrd="0" presId="urn:microsoft.com/office/officeart/2005/8/layout/hProcess6"/>
    <dgm:cxn modelId="{F7F425B7-4DA6-4556-8B04-93FC702B9E47}" srcId="{AE7DFFBB-C57B-45D8-934E-9FB906DC980A}" destId="{E3B4ECE3-A6A7-4B49-9CB5-146424B01C93}" srcOrd="0" destOrd="0" parTransId="{CDF39C90-49AE-4162-891F-85460961B956}" sibTransId="{63E43598-EF58-4C6D-B649-A9CE10CA2BD0}"/>
    <dgm:cxn modelId="{35DD8AB2-ECEE-4078-AE08-254C4BB758ED}" srcId="{84DC9CAA-C872-4111-BEC0-EEC377CE1A28}" destId="{B3966914-299A-48B1-BB37-9D69CDDA5968}" srcOrd="0" destOrd="0" parTransId="{BF63CDE6-3C9B-4897-8600-DF71FC1ADA76}" sibTransId="{12FF65E9-FEB6-424C-83E5-F90F97D4CD0E}"/>
    <dgm:cxn modelId="{45B907AE-C0E2-42F2-9CA5-F61C1906B305}" type="presOf" srcId="{E3B4ECE3-A6A7-4B49-9CB5-146424B01C93}" destId="{23BD31DC-9ED0-4E0C-8A8D-9D7D2CD7F445}" srcOrd="1" destOrd="0" presId="urn:microsoft.com/office/officeart/2005/8/layout/hProcess6"/>
    <dgm:cxn modelId="{81EC5E54-D410-49CA-B3CE-6EF4D8E71216}" srcId="{90E941E4-D21E-4703-9F61-E517BA342B00}" destId="{84DC9CAA-C872-4111-BEC0-EEC377CE1A28}" srcOrd="1" destOrd="0" parTransId="{B5A000EE-2B97-415D-80D7-F9BB6C9A3E04}" sibTransId="{EDDBDA0E-FD29-429D-A5DB-518FD58E11D4}"/>
    <dgm:cxn modelId="{843BCEE9-D0CB-43B6-9B5C-662AF2736064}" srcId="{90E941E4-D21E-4703-9F61-E517BA342B00}" destId="{84C23D48-2239-4007-81A1-C35427491C0D}" srcOrd="2" destOrd="0" parTransId="{60663B35-9AF4-4B12-B0D8-FF113F8F52C8}" sibTransId="{7DF1E516-3330-45C0-8B7D-3620FA00B968}"/>
    <dgm:cxn modelId="{C53959F5-D622-4E50-B658-96B49D46BC26}" type="presParOf" srcId="{9015AE4F-B8FA-480A-9526-47A3525FF87C}" destId="{D64454D1-7E07-4D9C-9276-B3126BBA3C18}" srcOrd="0" destOrd="0" presId="urn:microsoft.com/office/officeart/2005/8/layout/hProcess6"/>
    <dgm:cxn modelId="{101EE310-666F-468F-BBD4-FD04AE4F8409}" type="presParOf" srcId="{D64454D1-7E07-4D9C-9276-B3126BBA3C18}" destId="{5492371B-1B2D-4B3A-AF18-B5C746900319}" srcOrd="0" destOrd="0" presId="urn:microsoft.com/office/officeart/2005/8/layout/hProcess6"/>
    <dgm:cxn modelId="{95510065-4897-404E-90D6-D10D869E5806}" type="presParOf" srcId="{D64454D1-7E07-4D9C-9276-B3126BBA3C18}" destId="{E4B75BD3-8AF5-44BD-B24E-7A64E19B1792}" srcOrd="1" destOrd="0" presId="urn:microsoft.com/office/officeart/2005/8/layout/hProcess6"/>
    <dgm:cxn modelId="{59B49438-A6E5-40FE-95BF-5D1C71C3F12A}" type="presParOf" srcId="{D64454D1-7E07-4D9C-9276-B3126BBA3C18}" destId="{23BD31DC-9ED0-4E0C-8A8D-9D7D2CD7F445}" srcOrd="2" destOrd="0" presId="urn:microsoft.com/office/officeart/2005/8/layout/hProcess6"/>
    <dgm:cxn modelId="{375E2A60-81AF-45F7-9299-C2286D145B10}" type="presParOf" srcId="{D64454D1-7E07-4D9C-9276-B3126BBA3C18}" destId="{1B751071-FE5F-4CD3-AD09-06B3ACE94E67}" srcOrd="3" destOrd="0" presId="urn:microsoft.com/office/officeart/2005/8/layout/hProcess6"/>
    <dgm:cxn modelId="{8355E338-8191-47B3-AFE9-82EBC5128C9F}" type="presParOf" srcId="{9015AE4F-B8FA-480A-9526-47A3525FF87C}" destId="{6D607F55-B6F0-4682-BBCA-A8115B6B926A}" srcOrd="1" destOrd="0" presId="urn:microsoft.com/office/officeart/2005/8/layout/hProcess6"/>
    <dgm:cxn modelId="{CE967702-2255-4D0F-84F8-E190CB175523}" type="presParOf" srcId="{9015AE4F-B8FA-480A-9526-47A3525FF87C}" destId="{B0BE4DD4-E179-49BF-8FDF-4DA89552AF05}" srcOrd="2" destOrd="0" presId="urn:microsoft.com/office/officeart/2005/8/layout/hProcess6"/>
    <dgm:cxn modelId="{6AB56B8D-4CF0-46FE-AE4E-1B52688FA18B}" type="presParOf" srcId="{B0BE4DD4-E179-49BF-8FDF-4DA89552AF05}" destId="{400F3873-E6E5-410C-ACD3-385396EACD92}" srcOrd="0" destOrd="0" presId="urn:microsoft.com/office/officeart/2005/8/layout/hProcess6"/>
    <dgm:cxn modelId="{2A10C129-3AD0-4F24-B9F3-414ABE3569EF}" type="presParOf" srcId="{B0BE4DD4-E179-49BF-8FDF-4DA89552AF05}" destId="{8AD53FF4-3F3F-4580-BA9B-7C932F70E621}" srcOrd="1" destOrd="0" presId="urn:microsoft.com/office/officeart/2005/8/layout/hProcess6"/>
    <dgm:cxn modelId="{E4D4EE40-87A4-4520-B4BA-DE7FA03883F1}" type="presParOf" srcId="{B0BE4DD4-E179-49BF-8FDF-4DA89552AF05}" destId="{581A7CF1-BB3D-4BC9-B744-1CA6709F0DD9}" srcOrd="2" destOrd="0" presId="urn:microsoft.com/office/officeart/2005/8/layout/hProcess6"/>
    <dgm:cxn modelId="{3B86B96D-9B4A-490B-BD2F-1368F035C739}" type="presParOf" srcId="{B0BE4DD4-E179-49BF-8FDF-4DA89552AF05}" destId="{2D4D6BA8-0EB6-4ACF-8A84-19FE429DC5B4}" srcOrd="3" destOrd="0" presId="urn:microsoft.com/office/officeart/2005/8/layout/hProcess6"/>
    <dgm:cxn modelId="{EEEA3043-50E5-4BFE-AC93-0E756A3E968F}" type="presParOf" srcId="{9015AE4F-B8FA-480A-9526-47A3525FF87C}" destId="{FC332118-BA6A-4EC7-AB22-EBA33D35C121}" srcOrd="3" destOrd="0" presId="urn:microsoft.com/office/officeart/2005/8/layout/hProcess6"/>
    <dgm:cxn modelId="{DF9D60F4-3794-448B-BD6A-9C79504BB416}" type="presParOf" srcId="{9015AE4F-B8FA-480A-9526-47A3525FF87C}" destId="{1C9C7E99-8796-48B0-9DB4-51A36F1109B0}" srcOrd="4" destOrd="0" presId="urn:microsoft.com/office/officeart/2005/8/layout/hProcess6"/>
    <dgm:cxn modelId="{B5881B09-8C39-4D69-821F-0C04AA394BD7}" type="presParOf" srcId="{1C9C7E99-8796-48B0-9DB4-51A36F1109B0}" destId="{A9AC5102-2F4E-4952-AEAA-8CBCBFF711FF}" srcOrd="0" destOrd="0" presId="urn:microsoft.com/office/officeart/2005/8/layout/hProcess6"/>
    <dgm:cxn modelId="{AC4D0B08-8DF5-4A33-9F3A-BC99B2007C5C}" type="presParOf" srcId="{1C9C7E99-8796-48B0-9DB4-51A36F1109B0}" destId="{485A20BD-19A8-4B1B-8622-ED463F587245}" srcOrd="1" destOrd="0" presId="urn:microsoft.com/office/officeart/2005/8/layout/hProcess6"/>
    <dgm:cxn modelId="{914112E0-3176-421A-9665-B59BE1FB3B34}" type="presParOf" srcId="{1C9C7E99-8796-48B0-9DB4-51A36F1109B0}" destId="{123CC9E0-1638-4950-9C96-5B9EBEF4D80F}" srcOrd="2" destOrd="0" presId="urn:microsoft.com/office/officeart/2005/8/layout/hProcess6"/>
    <dgm:cxn modelId="{6AE532AC-A743-4372-8B93-0F0B5073B31F}" type="presParOf" srcId="{1C9C7E99-8796-48B0-9DB4-51A36F1109B0}" destId="{F36411E5-53D7-4A1D-8220-06B38D811A3C}" srcOrd="3" destOrd="0" presId="urn:microsoft.com/office/officeart/2005/8/layout/hProcess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DA856E9-B0F0-4258-ADED-4A4BE4C5163C}" type="doc">
      <dgm:prSet loTypeId="urn:microsoft.com/office/officeart/2005/8/layout/hList9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BA4F534-DCCF-4029-A6ED-C3AB86DAB463}">
      <dgm:prSet phldrT="[Testo]"/>
      <dgm:spPr>
        <a:solidFill>
          <a:srgbClr val="002060"/>
        </a:solidFill>
      </dgm:spPr>
      <dgm:t>
        <a:bodyPr/>
        <a:lstStyle/>
        <a:p>
          <a:r>
            <a:rPr lang="it-IT" b="1" dirty="0"/>
            <a:t>Associati</a:t>
          </a:r>
        </a:p>
      </dgm:t>
    </dgm:pt>
    <dgm:pt modelId="{C225AB5B-50B0-447F-8467-31A094CFAE96}" type="parTrans" cxnId="{537B1C9D-7486-4961-9E6E-9E04794E5ED2}">
      <dgm:prSet/>
      <dgm:spPr/>
      <dgm:t>
        <a:bodyPr/>
        <a:lstStyle/>
        <a:p>
          <a:endParaRPr lang="it-IT"/>
        </a:p>
      </dgm:t>
    </dgm:pt>
    <dgm:pt modelId="{42FDC987-A95B-4BDB-A7A9-4BCB6D87D551}" type="sibTrans" cxnId="{537B1C9D-7486-4961-9E6E-9E04794E5ED2}">
      <dgm:prSet/>
      <dgm:spPr/>
      <dgm:t>
        <a:bodyPr/>
        <a:lstStyle/>
        <a:p>
          <a:endParaRPr lang="it-IT"/>
        </a:p>
      </dgm:t>
    </dgm:pt>
    <dgm:pt modelId="{92FECA27-5235-4842-A48A-EC28200569DD}">
      <dgm:prSet phldrT="[Testo]"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pPr algn="ctr">
            <a:spcBef>
              <a:spcPts val="600"/>
            </a:spcBef>
          </a:pPr>
          <a:r>
            <a:rPr lang="it-IT" sz="1400" dirty="0">
              <a:solidFill>
                <a:srgbClr val="002060"/>
              </a:solidFill>
            </a:rPr>
            <a:t>Dimensione aziendale / numerosità</a:t>
          </a:r>
        </a:p>
        <a:p>
          <a:pPr algn="ctr">
            <a:spcBef>
              <a:spcPts val="600"/>
            </a:spcBef>
          </a:pPr>
          <a:r>
            <a:rPr lang="it-IT" sz="1400" dirty="0">
              <a:solidFill>
                <a:srgbClr val="17375E"/>
              </a:solidFill>
              <a:latin typeface="Arial" panose="020B0604020202020204" pitchFamily="34" charset="0"/>
              <a:cs typeface="Arial" panose="020B0604020202020204" pitchFamily="34" charset="0"/>
            </a:rPr>
            <a:t>Business e policy prevalente</a:t>
          </a:r>
          <a:endParaRPr lang="it-IT" sz="1400" dirty="0"/>
        </a:p>
      </dgm:t>
    </dgm:pt>
    <dgm:pt modelId="{F2823B21-437B-40DD-BDA0-D9D8E5C6A0A1}" type="parTrans" cxnId="{2845E15B-68A7-4CC9-BCFF-FED3326917ED}">
      <dgm:prSet/>
      <dgm:spPr/>
      <dgm:t>
        <a:bodyPr/>
        <a:lstStyle/>
        <a:p>
          <a:endParaRPr lang="it-IT"/>
        </a:p>
      </dgm:t>
    </dgm:pt>
    <dgm:pt modelId="{26C0CCF3-4EB6-41F9-85BA-4C4A446E7FA1}" type="sibTrans" cxnId="{2845E15B-68A7-4CC9-BCFF-FED3326917ED}">
      <dgm:prSet/>
      <dgm:spPr/>
      <dgm:t>
        <a:bodyPr/>
        <a:lstStyle/>
        <a:p>
          <a:endParaRPr lang="it-IT"/>
        </a:p>
      </dgm:t>
    </dgm:pt>
    <dgm:pt modelId="{87EB0236-1921-4DB2-BF47-B4A0088CE68D}" type="pres">
      <dgm:prSet presAssocID="{8DA856E9-B0F0-4258-ADED-4A4BE4C5163C}" presName="list" presStyleCnt="0">
        <dgm:presLayoutVars>
          <dgm:dir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7A485A1B-8756-4D66-A239-C2BA07CB10B3}" type="pres">
      <dgm:prSet presAssocID="{8BA4F534-DCCF-4029-A6ED-C3AB86DAB463}" presName="posSpace" presStyleCnt="0"/>
      <dgm:spPr/>
    </dgm:pt>
    <dgm:pt modelId="{BEAAD25C-61F1-4319-9339-BFFF04C80E21}" type="pres">
      <dgm:prSet presAssocID="{8BA4F534-DCCF-4029-A6ED-C3AB86DAB463}" presName="vertFlow" presStyleCnt="0"/>
      <dgm:spPr/>
    </dgm:pt>
    <dgm:pt modelId="{4A193762-0F5B-4F03-A5E3-3ED85E4BB3A3}" type="pres">
      <dgm:prSet presAssocID="{8BA4F534-DCCF-4029-A6ED-C3AB86DAB463}" presName="topSpace" presStyleCnt="0"/>
      <dgm:spPr/>
    </dgm:pt>
    <dgm:pt modelId="{02DC7108-EDBA-429D-AC17-D14915B8727F}" type="pres">
      <dgm:prSet presAssocID="{8BA4F534-DCCF-4029-A6ED-C3AB86DAB463}" presName="firstComp" presStyleCnt="0"/>
      <dgm:spPr/>
    </dgm:pt>
    <dgm:pt modelId="{43945048-1F3B-4EBA-A6EA-57A8E9912020}" type="pres">
      <dgm:prSet presAssocID="{8BA4F534-DCCF-4029-A6ED-C3AB86DAB463}" presName="firstChild" presStyleLbl="bgAccFollowNode1" presStyleIdx="0" presStyleCnt="1" custScaleX="105070" custScaleY="139167" custLinFactNeighborX="-786" custLinFactNeighborY="-9628"/>
      <dgm:spPr/>
      <dgm:t>
        <a:bodyPr/>
        <a:lstStyle/>
        <a:p>
          <a:endParaRPr lang="it-IT"/>
        </a:p>
      </dgm:t>
    </dgm:pt>
    <dgm:pt modelId="{B60C8D9F-EC6F-4E2B-B4FC-1CD086D29771}" type="pres">
      <dgm:prSet presAssocID="{8BA4F534-DCCF-4029-A6ED-C3AB86DAB463}" presName="firstChildTx" presStyleLbl="bg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60BE86E-42B4-44CF-AE06-7AD0898CF426}" type="pres">
      <dgm:prSet presAssocID="{8BA4F534-DCCF-4029-A6ED-C3AB86DAB463}" presName="negSpace" presStyleCnt="0"/>
      <dgm:spPr/>
    </dgm:pt>
    <dgm:pt modelId="{F800E5DA-CF9B-4B11-9029-1BB1D3A31A8F}" type="pres">
      <dgm:prSet presAssocID="{8BA4F534-DCCF-4029-A6ED-C3AB86DAB463}" presName="circle" presStyleLbl="node1" presStyleIdx="0" presStyleCnt="1" custScaleX="125612" custScaleY="124933" custLinFactNeighborX="-13655" custLinFactNeighborY="2137"/>
      <dgm:spPr/>
      <dgm:t>
        <a:bodyPr/>
        <a:lstStyle/>
        <a:p>
          <a:endParaRPr lang="it-IT"/>
        </a:p>
      </dgm:t>
    </dgm:pt>
  </dgm:ptLst>
  <dgm:cxnLst>
    <dgm:cxn modelId="{65858BFC-DECC-4D2D-941F-ACBB710F824F}" type="presOf" srcId="{92FECA27-5235-4842-A48A-EC28200569DD}" destId="{43945048-1F3B-4EBA-A6EA-57A8E9912020}" srcOrd="0" destOrd="0" presId="urn:microsoft.com/office/officeart/2005/8/layout/hList9"/>
    <dgm:cxn modelId="{2845E15B-68A7-4CC9-BCFF-FED3326917ED}" srcId="{8BA4F534-DCCF-4029-A6ED-C3AB86DAB463}" destId="{92FECA27-5235-4842-A48A-EC28200569DD}" srcOrd="0" destOrd="0" parTransId="{F2823B21-437B-40DD-BDA0-D9D8E5C6A0A1}" sibTransId="{26C0CCF3-4EB6-41F9-85BA-4C4A446E7FA1}"/>
    <dgm:cxn modelId="{BC318A2E-C824-4F7D-AD78-428826B19F65}" type="presOf" srcId="{92FECA27-5235-4842-A48A-EC28200569DD}" destId="{B60C8D9F-EC6F-4E2B-B4FC-1CD086D29771}" srcOrd="1" destOrd="0" presId="urn:microsoft.com/office/officeart/2005/8/layout/hList9"/>
    <dgm:cxn modelId="{CD026762-1082-42B7-8D04-71C6CEE549CA}" type="presOf" srcId="{8BA4F534-DCCF-4029-A6ED-C3AB86DAB463}" destId="{F800E5DA-CF9B-4B11-9029-1BB1D3A31A8F}" srcOrd="0" destOrd="0" presId="urn:microsoft.com/office/officeart/2005/8/layout/hList9"/>
    <dgm:cxn modelId="{537B1C9D-7486-4961-9E6E-9E04794E5ED2}" srcId="{8DA856E9-B0F0-4258-ADED-4A4BE4C5163C}" destId="{8BA4F534-DCCF-4029-A6ED-C3AB86DAB463}" srcOrd="0" destOrd="0" parTransId="{C225AB5B-50B0-447F-8467-31A094CFAE96}" sibTransId="{42FDC987-A95B-4BDB-A7A9-4BCB6D87D551}"/>
    <dgm:cxn modelId="{3B0FE90F-6419-4800-83CC-D3ACA8E36650}" type="presOf" srcId="{8DA856E9-B0F0-4258-ADED-4A4BE4C5163C}" destId="{87EB0236-1921-4DB2-BF47-B4A0088CE68D}" srcOrd="0" destOrd="0" presId="urn:microsoft.com/office/officeart/2005/8/layout/hList9"/>
    <dgm:cxn modelId="{9E7CD098-15DE-4F45-92DA-D54F55CE91FB}" type="presParOf" srcId="{87EB0236-1921-4DB2-BF47-B4A0088CE68D}" destId="{7A485A1B-8756-4D66-A239-C2BA07CB10B3}" srcOrd="0" destOrd="0" presId="urn:microsoft.com/office/officeart/2005/8/layout/hList9"/>
    <dgm:cxn modelId="{24B98CBA-6EC7-44F9-B855-4C100ACC6FF1}" type="presParOf" srcId="{87EB0236-1921-4DB2-BF47-B4A0088CE68D}" destId="{BEAAD25C-61F1-4319-9339-BFFF04C80E21}" srcOrd="1" destOrd="0" presId="urn:microsoft.com/office/officeart/2005/8/layout/hList9"/>
    <dgm:cxn modelId="{62A49C99-84B5-4F90-9EC6-C420C0465F6A}" type="presParOf" srcId="{BEAAD25C-61F1-4319-9339-BFFF04C80E21}" destId="{4A193762-0F5B-4F03-A5E3-3ED85E4BB3A3}" srcOrd="0" destOrd="0" presId="urn:microsoft.com/office/officeart/2005/8/layout/hList9"/>
    <dgm:cxn modelId="{6177A25C-2D92-4333-A123-4D26FCBBF6FD}" type="presParOf" srcId="{BEAAD25C-61F1-4319-9339-BFFF04C80E21}" destId="{02DC7108-EDBA-429D-AC17-D14915B8727F}" srcOrd="1" destOrd="0" presId="urn:microsoft.com/office/officeart/2005/8/layout/hList9"/>
    <dgm:cxn modelId="{FB84E8FB-772A-45A4-A2AE-37ADA00F1C90}" type="presParOf" srcId="{02DC7108-EDBA-429D-AC17-D14915B8727F}" destId="{43945048-1F3B-4EBA-A6EA-57A8E9912020}" srcOrd="0" destOrd="0" presId="urn:microsoft.com/office/officeart/2005/8/layout/hList9"/>
    <dgm:cxn modelId="{8175BB6D-CD06-4FFF-8B68-AE851CFA3B04}" type="presParOf" srcId="{02DC7108-EDBA-429D-AC17-D14915B8727F}" destId="{B60C8D9F-EC6F-4E2B-B4FC-1CD086D29771}" srcOrd="1" destOrd="0" presId="urn:microsoft.com/office/officeart/2005/8/layout/hList9"/>
    <dgm:cxn modelId="{CE543CCF-4570-43D3-BCC8-A245BDFE4F91}" type="presParOf" srcId="{87EB0236-1921-4DB2-BF47-B4A0088CE68D}" destId="{D60BE86E-42B4-44CF-AE06-7AD0898CF426}" srcOrd="2" destOrd="0" presId="urn:microsoft.com/office/officeart/2005/8/layout/hList9"/>
    <dgm:cxn modelId="{C0B4B3E6-275B-484C-A2FB-ABB92CBAEE7D}" type="presParOf" srcId="{87EB0236-1921-4DB2-BF47-B4A0088CE68D}" destId="{F800E5DA-CF9B-4B11-9029-1BB1D3A31A8F}" srcOrd="3" destOrd="0" presId="urn:microsoft.com/office/officeart/2005/8/layout/hList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ABD0FA2-C5D7-4F1A-95EE-46F04CCBDEF6}" type="doc">
      <dgm:prSet loTypeId="urn:microsoft.com/office/officeart/2005/8/layout/hList2" loCatId="pictur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A88D67B4-8C15-4647-A98E-793ED39D9015}">
      <dgm:prSet phldrT="[Testo]" custT="1"/>
      <dgm:spPr>
        <a:solidFill>
          <a:srgbClr val="002060"/>
        </a:solidFill>
      </dgm:spPr>
      <dgm:t>
        <a:bodyPr tIns="540000" anchor="ctr" anchorCtr="0"/>
        <a:lstStyle/>
        <a:p>
          <a:pPr>
            <a:buClr>
              <a:schemeClr val="bg1"/>
            </a:buClr>
            <a:buFont typeface="Wingdings" panose="05000000000000000000" pitchFamily="2" charset="2"/>
            <a:buChar char="Ø"/>
          </a:pPr>
          <a:r>
            <a:rPr lang="it-IT" sz="1600" b="0" i="0" u="none" strike="noStrike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Consolidamento base Associativa (</a:t>
          </a:r>
          <a:r>
            <a:rPr lang="it-IT" sz="1600" b="0" i="0" u="none" strike="noStrike" cap="none" dirty="0" err="1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scouting</a:t>
          </a:r>
          <a:r>
            <a:rPr lang="it-IT" sz="1600" b="0" i="0" u="none" strike="noStrike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, coinvolgimento mirato su eventi EF, attivazione nuovi strumenti di comunicazione)</a:t>
          </a:r>
        </a:p>
      </dgm:t>
    </dgm:pt>
    <dgm:pt modelId="{2D07D7AC-6F57-4BD9-9EE4-0EE398E3DD70}" type="sibTrans" cxnId="{C7E5EE1F-214D-4F11-91FC-AFDE72DD17DC}">
      <dgm:prSet/>
      <dgm:spPr/>
      <dgm:t>
        <a:bodyPr/>
        <a:lstStyle/>
        <a:p>
          <a:endParaRPr lang="it-IT"/>
        </a:p>
      </dgm:t>
    </dgm:pt>
    <dgm:pt modelId="{B066B545-6112-4E45-8242-EABA074A61A3}" type="parTrans" cxnId="{C7E5EE1F-214D-4F11-91FC-AFDE72DD17DC}">
      <dgm:prSet/>
      <dgm:spPr/>
      <dgm:t>
        <a:bodyPr/>
        <a:lstStyle/>
        <a:p>
          <a:endParaRPr lang="it-IT"/>
        </a:p>
      </dgm:t>
    </dgm:pt>
    <dgm:pt modelId="{CA025125-CE0F-49BB-AC93-AE5F7D6106F4}">
      <dgm:prSet custT="1"/>
      <dgm:spPr>
        <a:solidFill>
          <a:srgbClr val="002060"/>
        </a:solidFill>
      </dgm:spPr>
      <dgm:t>
        <a:bodyPr tIns="540000" anchor="ctr" anchorCtr="0"/>
        <a:lstStyle/>
        <a:p>
          <a:pPr>
            <a:buFont typeface="Wingdings" panose="05000000000000000000" pitchFamily="2" charset="2"/>
            <a:buChar char="Ø"/>
          </a:pPr>
          <a:r>
            <a:rPr lang="it-IT" sz="1600" b="0" i="0" u="none" strike="noStrike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Attività di formazione (EF Academy; Partnership con Centri di Formazione; convenzione con </a:t>
          </a:r>
          <a:r>
            <a:rPr lang="it-IT" sz="1600" b="0" i="0" u="none" strike="noStrike" cap="none" dirty="0" err="1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Federmanager</a:t>
          </a:r>
          <a:r>
            <a:rPr lang="it-IT" sz="1600" b="0" i="0" u="none" strike="noStrike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)</a:t>
          </a:r>
        </a:p>
      </dgm:t>
    </dgm:pt>
    <dgm:pt modelId="{692A7DD8-2B8F-4568-848C-115593B5DC52}" type="parTrans" cxnId="{B0330D62-1822-4E3E-ADA9-3B83918AABDA}">
      <dgm:prSet/>
      <dgm:spPr/>
      <dgm:t>
        <a:bodyPr/>
        <a:lstStyle/>
        <a:p>
          <a:endParaRPr lang="it-IT"/>
        </a:p>
      </dgm:t>
    </dgm:pt>
    <dgm:pt modelId="{10581E5A-09E9-4A98-A417-5E4C91C01DF4}" type="sibTrans" cxnId="{B0330D62-1822-4E3E-ADA9-3B83918AABDA}">
      <dgm:prSet/>
      <dgm:spPr/>
      <dgm:t>
        <a:bodyPr/>
        <a:lstStyle/>
        <a:p>
          <a:endParaRPr lang="it-IT"/>
        </a:p>
      </dgm:t>
    </dgm:pt>
    <dgm:pt modelId="{887ADDAC-C82C-419B-B362-906D160CCA77}">
      <dgm:prSet custT="1"/>
      <dgm:spPr>
        <a:solidFill>
          <a:srgbClr val="002060"/>
        </a:solidFill>
      </dgm:spPr>
      <dgm:t>
        <a:bodyPr tIns="540000" anchor="ctr" anchorCtr="0"/>
        <a:lstStyle/>
        <a:p>
          <a:pPr>
            <a:buFont typeface="Wingdings" panose="05000000000000000000" pitchFamily="2" charset="2"/>
            <a:buChar char="Ø"/>
          </a:pPr>
          <a:r>
            <a:rPr lang="it-IT" sz="1600" b="0" i="0" u="none" strike="noStrike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Progetti/Eventi comuni con associazioni «competitor»</a:t>
          </a:r>
        </a:p>
      </dgm:t>
    </dgm:pt>
    <dgm:pt modelId="{24C4C60B-C68A-4D63-BC08-B06A20AF7199}" type="parTrans" cxnId="{06F26BDD-2B91-4B7B-AC9A-466EF28DD729}">
      <dgm:prSet/>
      <dgm:spPr/>
      <dgm:t>
        <a:bodyPr/>
        <a:lstStyle/>
        <a:p>
          <a:endParaRPr lang="it-IT"/>
        </a:p>
      </dgm:t>
    </dgm:pt>
    <dgm:pt modelId="{3ADF0B90-C281-458E-A384-0AEF4CB02CCE}" type="sibTrans" cxnId="{06F26BDD-2B91-4B7B-AC9A-466EF28DD729}">
      <dgm:prSet/>
      <dgm:spPr/>
      <dgm:t>
        <a:bodyPr/>
        <a:lstStyle/>
        <a:p>
          <a:endParaRPr lang="it-IT"/>
        </a:p>
      </dgm:t>
    </dgm:pt>
    <dgm:pt modelId="{F338767C-4A6E-4E4B-9B64-E400C777523C}">
      <dgm:prSet custT="1"/>
      <dgm:spPr>
        <a:solidFill>
          <a:srgbClr val="002060"/>
        </a:solidFill>
      </dgm:spPr>
      <dgm:t>
        <a:bodyPr tIns="540000" anchor="ctr" anchorCtr="0"/>
        <a:lstStyle/>
        <a:p>
          <a:pPr>
            <a:buFont typeface="Wingdings" panose="05000000000000000000" pitchFamily="2" charset="2"/>
            <a:buChar char="Ø"/>
          </a:pPr>
          <a:r>
            <a:rPr lang="it-IT" sz="1600" b="0" i="0" u="none" strike="noStrike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Coinvolgimento Istituzioni su programmi divulgativi (es. Roadshow </a:t>
          </a:r>
          <a:r>
            <a:rPr lang="it-IT" sz="1600" b="0" i="1" u="none" strike="noStrike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L’Europa Incontra i Territori dell’Energia; «La Filiera dell’Elettricità Italiana»: la transizione energetica spiegata all’estero</a:t>
          </a:r>
          <a:r>
            <a:rPr lang="it-IT" sz="1600" b="0" i="0" u="none" strike="noStrike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)</a:t>
          </a:r>
        </a:p>
      </dgm:t>
    </dgm:pt>
    <dgm:pt modelId="{F250183E-34E4-4F04-8040-A4B55199F1EE}" type="parTrans" cxnId="{76F19456-E561-4BC1-B740-F11DFAF24326}">
      <dgm:prSet/>
      <dgm:spPr/>
      <dgm:t>
        <a:bodyPr/>
        <a:lstStyle/>
        <a:p>
          <a:endParaRPr lang="it-IT"/>
        </a:p>
      </dgm:t>
    </dgm:pt>
    <dgm:pt modelId="{422A690C-381B-4A35-A740-8188D2D949D8}" type="sibTrans" cxnId="{76F19456-E561-4BC1-B740-F11DFAF24326}">
      <dgm:prSet/>
      <dgm:spPr/>
      <dgm:t>
        <a:bodyPr/>
        <a:lstStyle/>
        <a:p>
          <a:endParaRPr lang="it-IT"/>
        </a:p>
      </dgm:t>
    </dgm:pt>
    <dgm:pt modelId="{9C6CEA5B-45CD-49E7-8D31-35038FBCB471}">
      <dgm:prSet custT="1"/>
      <dgm:spPr>
        <a:solidFill>
          <a:srgbClr val="002060"/>
        </a:solidFill>
      </dgm:spPr>
      <dgm:t>
        <a:bodyPr tIns="540000" anchor="ctr" anchorCtr="0"/>
        <a:lstStyle/>
        <a:p>
          <a:pPr>
            <a:buFont typeface="Wingdings" panose="05000000000000000000" pitchFamily="2" charset="2"/>
            <a:buChar char="Ø"/>
          </a:pPr>
          <a:r>
            <a:rPr lang="it-IT" sz="1600" b="0" i="0" u="none" strike="noStrike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…..Work in progress</a:t>
          </a:r>
          <a:endParaRPr lang="it-IT" sz="1600" b="0" i="1" u="none" strike="noStrike" cap="none" dirty="0">
            <a:solidFill>
              <a:schemeClr val="bg1"/>
            </a:solidFill>
            <a:latin typeface="Arial" panose="020B0604020202020204" pitchFamily="34" charset="0"/>
            <a:ea typeface="Arial"/>
            <a:cs typeface="Arial" panose="020B0604020202020204" pitchFamily="34" charset="0"/>
            <a:sym typeface="Arial"/>
          </a:endParaRPr>
        </a:p>
      </dgm:t>
    </dgm:pt>
    <dgm:pt modelId="{AB265103-3720-4352-B8E6-593E8FA569A3}" type="parTrans" cxnId="{011DB9CD-5902-4FE8-8A24-EC00DF6537B0}">
      <dgm:prSet/>
      <dgm:spPr/>
      <dgm:t>
        <a:bodyPr/>
        <a:lstStyle/>
        <a:p>
          <a:endParaRPr lang="it-IT"/>
        </a:p>
      </dgm:t>
    </dgm:pt>
    <dgm:pt modelId="{714E8A40-A2D3-421F-B841-A2DB2236E0F5}" type="sibTrans" cxnId="{011DB9CD-5902-4FE8-8A24-EC00DF6537B0}">
      <dgm:prSet/>
      <dgm:spPr/>
      <dgm:t>
        <a:bodyPr/>
        <a:lstStyle/>
        <a:p>
          <a:endParaRPr lang="it-IT"/>
        </a:p>
      </dgm:t>
    </dgm:pt>
    <dgm:pt modelId="{B3569C89-187D-43C0-8594-08AAC088F948}">
      <dgm:prSet phldrT="[Testo]"/>
      <dgm:spPr/>
      <dgm:t>
        <a:bodyPr/>
        <a:lstStyle/>
        <a:p>
          <a:pPr algn="ctr"/>
          <a:r>
            <a:rPr lang="it-IT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…</a:t>
          </a:r>
          <a:r>
            <a:rPr lang="it-IT" dirty="0" err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Latest</a:t>
          </a:r>
          <a:endParaRPr lang="it-IT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99CD569-DDAF-416A-9A0C-7C8E5DDFF97C}" type="sibTrans" cxnId="{46D10671-8094-4A85-ABBE-5BAD175E922F}">
      <dgm:prSet/>
      <dgm:spPr/>
      <dgm:t>
        <a:bodyPr/>
        <a:lstStyle/>
        <a:p>
          <a:endParaRPr lang="it-IT"/>
        </a:p>
      </dgm:t>
    </dgm:pt>
    <dgm:pt modelId="{EFFEA475-AB61-4535-8769-D3F93C231618}" type="parTrans" cxnId="{46D10671-8094-4A85-ABBE-5BAD175E922F}">
      <dgm:prSet/>
      <dgm:spPr/>
      <dgm:t>
        <a:bodyPr/>
        <a:lstStyle/>
        <a:p>
          <a:endParaRPr lang="it-IT"/>
        </a:p>
      </dgm:t>
    </dgm:pt>
    <dgm:pt modelId="{CD7D1B40-9173-462C-980B-C085274BBF16}">
      <dgm:prSet phldrT="[Testo]" custT="1"/>
      <dgm:spPr>
        <a:solidFill>
          <a:srgbClr val="002060"/>
        </a:solidFill>
      </dgm:spPr>
      <dgm:t>
        <a:bodyPr tIns="540000" anchor="ctr" anchorCtr="0"/>
        <a:lstStyle/>
        <a:p>
          <a:pPr>
            <a:buClr>
              <a:schemeClr val="bg1"/>
            </a:buClr>
            <a:buFont typeface="Wingdings" panose="05000000000000000000" pitchFamily="2" charset="2"/>
            <a:buNone/>
          </a:pPr>
          <a:endParaRPr lang="it-IT" sz="1600" b="0" i="0" u="none" strike="noStrike" cap="none" dirty="0">
            <a:solidFill>
              <a:schemeClr val="bg1"/>
            </a:solidFill>
            <a:latin typeface="Arial" panose="020B0604020202020204" pitchFamily="34" charset="0"/>
            <a:ea typeface="Arial"/>
            <a:cs typeface="Arial" panose="020B0604020202020204" pitchFamily="34" charset="0"/>
            <a:sym typeface="Arial"/>
          </a:endParaRPr>
        </a:p>
      </dgm:t>
    </dgm:pt>
    <dgm:pt modelId="{05CA6D4E-985D-465A-BE8B-EE7957CD1537}" type="parTrans" cxnId="{B4B5D607-8656-4A6C-9FA6-B7690B802FAD}">
      <dgm:prSet/>
      <dgm:spPr/>
      <dgm:t>
        <a:bodyPr/>
        <a:lstStyle/>
        <a:p>
          <a:endParaRPr lang="it-IT"/>
        </a:p>
      </dgm:t>
    </dgm:pt>
    <dgm:pt modelId="{110650CA-8E8E-4750-AB33-9283AF677192}" type="sibTrans" cxnId="{B4B5D607-8656-4A6C-9FA6-B7690B802FAD}">
      <dgm:prSet/>
      <dgm:spPr/>
      <dgm:t>
        <a:bodyPr/>
        <a:lstStyle/>
        <a:p>
          <a:endParaRPr lang="it-IT"/>
        </a:p>
      </dgm:t>
    </dgm:pt>
    <dgm:pt modelId="{F7C3B3B4-90FC-4383-A580-9BC8DAB39DFC}">
      <dgm:prSet custT="1"/>
      <dgm:spPr>
        <a:solidFill>
          <a:srgbClr val="002060"/>
        </a:solidFill>
      </dgm:spPr>
      <dgm:t>
        <a:bodyPr tIns="540000" anchor="ctr" anchorCtr="0"/>
        <a:lstStyle/>
        <a:p>
          <a:pPr>
            <a:buFont typeface="Wingdings" panose="05000000000000000000" pitchFamily="2" charset="2"/>
            <a:buNone/>
          </a:pPr>
          <a:endParaRPr lang="it-IT" sz="1600" b="0" i="0" u="none" strike="noStrike" cap="none" dirty="0">
            <a:solidFill>
              <a:schemeClr val="bg1"/>
            </a:solidFill>
            <a:latin typeface="Arial" panose="020B0604020202020204" pitchFamily="34" charset="0"/>
            <a:ea typeface="Arial"/>
            <a:cs typeface="Arial" panose="020B0604020202020204" pitchFamily="34" charset="0"/>
            <a:sym typeface="Arial"/>
          </a:endParaRPr>
        </a:p>
      </dgm:t>
    </dgm:pt>
    <dgm:pt modelId="{6F5C0D0B-400E-45C8-B34F-8C695EA26D5C}" type="parTrans" cxnId="{5C90FB96-4E1D-4B11-A16D-4B52F3E09715}">
      <dgm:prSet/>
      <dgm:spPr/>
      <dgm:t>
        <a:bodyPr/>
        <a:lstStyle/>
        <a:p>
          <a:endParaRPr lang="it-IT"/>
        </a:p>
      </dgm:t>
    </dgm:pt>
    <dgm:pt modelId="{C221D3A7-A605-4AE7-8E13-42ABF4D78A82}" type="sibTrans" cxnId="{5C90FB96-4E1D-4B11-A16D-4B52F3E09715}">
      <dgm:prSet/>
      <dgm:spPr/>
      <dgm:t>
        <a:bodyPr/>
        <a:lstStyle/>
        <a:p>
          <a:endParaRPr lang="it-IT"/>
        </a:p>
      </dgm:t>
    </dgm:pt>
    <dgm:pt modelId="{A3C5B278-1A85-44BA-AE0C-987D306489EF}">
      <dgm:prSet custT="1"/>
      <dgm:spPr>
        <a:solidFill>
          <a:srgbClr val="002060"/>
        </a:solidFill>
      </dgm:spPr>
      <dgm:t>
        <a:bodyPr tIns="540000" anchor="ctr" anchorCtr="0"/>
        <a:lstStyle/>
        <a:p>
          <a:pPr>
            <a:buFont typeface="Wingdings" panose="05000000000000000000" pitchFamily="2" charset="2"/>
            <a:buNone/>
          </a:pPr>
          <a:endParaRPr lang="it-IT" sz="1600" b="0" i="0" u="none" strike="noStrike" cap="none" dirty="0">
            <a:solidFill>
              <a:schemeClr val="bg1"/>
            </a:solidFill>
            <a:latin typeface="Arial" panose="020B0604020202020204" pitchFamily="34" charset="0"/>
            <a:ea typeface="Arial"/>
            <a:cs typeface="Arial" panose="020B0604020202020204" pitchFamily="34" charset="0"/>
            <a:sym typeface="Arial"/>
          </a:endParaRPr>
        </a:p>
      </dgm:t>
    </dgm:pt>
    <dgm:pt modelId="{A2F57FDE-6743-4D41-9CC0-4532CC287CA6}" type="parTrans" cxnId="{94ABDE73-6505-44E9-9D19-E1567765CB26}">
      <dgm:prSet/>
      <dgm:spPr/>
      <dgm:t>
        <a:bodyPr/>
        <a:lstStyle/>
        <a:p>
          <a:endParaRPr lang="it-IT"/>
        </a:p>
      </dgm:t>
    </dgm:pt>
    <dgm:pt modelId="{D64D5EAF-770A-4078-B62C-2574CA2C2399}" type="sibTrans" cxnId="{94ABDE73-6505-44E9-9D19-E1567765CB26}">
      <dgm:prSet/>
      <dgm:spPr/>
      <dgm:t>
        <a:bodyPr/>
        <a:lstStyle/>
        <a:p>
          <a:endParaRPr lang="it-IT"/>
        </a:p>
      </dgm:t>
    </dgm:pt>
    <dgm:pt modelId="{D101B147-F41F-4B7B-BF2E-DD30AAB8832C}">
      <dgm:prSet custT="1"/>
      <dgm:spPr>
        <a:solidFill>
          <a:srgbClr val="002060"/>
        </a:solidFill>
      </dgm:spPr>
      <dgm:t>
        <a:bodyPr tIns="540000" anchor="ctr" anchorCtr="0"/>
        <a:lstStyle/>
        <a:p>
          <a:pPr>
            <a:buFont typeface="Wingdings" panose="05000000000000000000" pitchFamily="2" charset="2"/>
            <a:buNone/>
          </a:pPr>
          <a:endParaRPr lang="it-IT" sz="1600" b="0" i="0" u="none" strike="noStrike" cap="none" dirty="0">
            <a:solidFill>
              <a:schemeClr val="bg1"/>
            </a:solidFill>
            <a:latin typeface="Arial" panose="020B0604020202020204" pitchFamily="34" charset="0"/>
            <a:ea typeface="Arial"/>
            <a:cs typeface="Arial" panose="020B0604020202020204" pitchFamily="34" charset="0"/>
            <a:sym typeface="Arial"/>
          </a:endParaRPr>
        </a:p>
      </dgm:t>
    </dgm:pt>
    <dgm:pt modelId="{F30030FF-CA35-40E1-86B8-08EF9BBAB1AC}" type="parTrans" cxnId="{BC88F7F9-D5C6-43D6-A19C-17884DE7475A}">
      <dgm:prSet/>
      <dgm:spPr/>
      <dgm:t>
        <a:bodyPr/>
        <a:lstStyle/>
        <a:p>
          <a:endParaRPr lang="it-IT"/>
        </a:p>
      </dgm:t>
    </dgm:pt>
    <dgm:pt modelId="{CE5E5575-AB36-45C4-82AF-C51E3D593B66}" type="sibTrans" cxnId="{BC88F7F9-D5C6-43D6-A19C-17884DE7475A}">
      <dgm:prSet/>
      <dgm:spPr/>
      <dgm:t>
        <a:bodyPr/>
        <a:lstStyle/>
        <a:p>
          <a:endParaRPr lang="it-IT"/>
        </a:p>
      </dgm:t>
    </dgm:pt>
    <dgm:pt modelId="{C654FDB0-3238-42EE-9747-127E0B2125B9}" type="pres">
      <dgm:prSet presAssocID="{7ABD0FA2-C5D7-4F1A-95EE-46F04CCBDEF6}" presName="linearFlow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it-IT"/>
        </a:p>
      </dgm:t>
    </dgm:pt>
    <dgm:pt modelId="{F8236F4B-F280-4DA0-B3D8-0EC6AADF90BA}" type="pres">
      <dgm:prSet presAssocID="{B3569C89-187D-43C0-8594-08AAC088F948}" presName="compositeNode" presStyleCnt="0">
        <dgm:presLayoutVars>
          <dgm:bulletEnabled val="1"/>
        </dgm:presLayoutVars>
      </dgm:prSet>
      <dgm:spPr/>
    </dgm:pt>
    <dgm:pt modelId="{93C1D6F5-C40D-4BD4-AA4A-94151DA1B7FD}" type="pres">
      <dgm:prSet presAssocID="{B3569C89-187D-43C0-8594-08AAC088F948}" presName="image" presStyleLbl="fgImgPlace1" presStyleIdx="0" presStyleCnt="1" custScaleX="59741" custScaleY="61042" custLinFactNeighborX="-16829" custLinFactNeighborY="-10544"/>
      <dgm:spPr>
        <a:blipFill dpi="0" rotWithShape="1">
          <a:blip xmlns:r="http://schemas.openxmlformats.org/officeDocument/2006/relationships" r:embed="rId1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682" t="340" r="1682" b="340"/>
          </a:stretch>
        </a:blipFill>
      </dgm:spPr>
    </dgm:pt>
    <dgm:pt modelId="{F7049846-0FA7-4376-9C1A-7D2E1907B7A7}" type="pres">
      <dgm:prSet presAssocID="{B3569C89-187D-43C0-8594-08AAC088F948}" presName="childNode" presStyleLbl="node1" presStyleIdx="0" presStyleCnt="1" custScaleX="112099" custScaleY="102396" custLinFactNeighborX="-330" custLinFactNeighborY="-471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0F866C8B-7007-4268-BCBB-532395EDDD4E}" type="pres">
      <dgm:prSet presAssocID="{B3569C89-187D-43C0-8594-08AAC088F948}" presName="parentNode" presStyleLbl="revTx" presStyleIdx="0" presStyleCnt="1" custScaleX="48186" custLinFactNeighborX="-43862" custLinFactNeighborY="-3249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A1CDFF76-8684-4C09-AC7D-473931835671}" type="presOf" srcId="{CA025125-CE0F-49BB-AC93-AE5F7D6106F4}" destId="{F7049846-0FA7-4376-9C1A-7D2E1907B7A7}" srcOrd="0" destOrd="2" presId="urn:microsoft.com/office/officeart/2005/8/layout/hList2"/>
    <dgm:cxn modelId="{4E2CFDDF-43AF-41B0-9321-99E0AF32A4F2}" type="presOf" srcId="{887ADDAC-C82C-419B-B362-906D160CCA77}" destId="{F7049846-0FA7-4376-9C1A-7D2E1907B7A7}" srcOrd="0" destOrd="4" presId="urn:microsoft.com/office/officeart/2005/8/layout/hList2"/>
    <dgm:cxn modelId="{B4796123-859A-4BF3-A5C7-37D8B9754A1F}" type="presOf" srcId="{F7C3B3B4-90FC-4383-A580-9BC8DAB39DFC}" destId="{F7049846-0FA7-4376-9C1A-7D2E1907B7A7}" srcOrd="0" destOrd="3" presId="urn:microsoft.com/office/officeart/2005/8/layout/hList2"/>
    <dgm:cxn modelId="{5C90FB96-4E1D-4B11-A16D-4B52F3E09715}" srcId="{B3569C89-187D-43C0-8594-08AAC088F948}" destId="{F7C3B3B4-90FC-4383-A580-9BC8DAB39DFC}" srcOrd="3" destOrd="0" parTransId="{6F5C0D0B-400E-45C8-B34F-8C695EA26D5C}" sibTransId="{C221D3A7-A605-4AE7-8E13-42ABF4D78A82}"/>
    <dgm:cxn modelId="{9B3C40BC-AE44-439A-B992-9074D392EBEB}" type="presOf" srcId="{A3C5B278-1A85-44BA-AE0C-987D306489EF}" destId="{F7049846-0FA7-4376-9C1A-7D2E1907B7A7}" srcOrd="0" destOrd="5" presId="urn:microsoft.com/office/officeart/2005/8/layout/hList2"/>
    <dgm:cxn modelId="{CDAA8C2E-CBC0-4D34-8E62-B35A65E97DD3}" type="presOf" srcId="{CD7D1B40-9173-462C-980B-C085274BBF16}" destId="{F7049846-0FA7-4376-9C1A-7D2E1907B7A7}" srcOrd="0" destOrd="1" presId="urn:microsoft.com/office/officeart/2005/8/layout/hList2"/>
    <dgm:cxn modelId="{E6A43306-4D3E-4AC3-AAD9-C42B68C80376}" type="presOf" srcId="{D101B147-F41F-4B7B-BF2E-DD30AAB8832C}" destId="{F7049846-0FA7-4376-9C1A-7D2E1907B7A7}" srcOrd="0" destOrd="7" presId="urn:microsoft.com/office/officeart/2005/8/layout/hList2"/>
    <dgm:cxn modelId="{941ABEE0-6C45-4770-A7DE-052450004718}" type="presOf" srcId="{7ABD0FA2-C5D7-4F1A-95EE-46F04CCBDEF6}" destId="{C654FDB0-3238-42EE-9747-127E0B2125B9}" srcOrd="0" destOrd="0" presId="urn:microsoft.com/office/officeart/2005/8/layout/hList2"/>
    <dgm:cxn modelId="{BD95DA21-5D90-4F03-AB86-3B370C394376}" type="presOf" srcId="{B3569C89-187D-43C0-8594-08AAC088F948}" destId="{0F866C8B-7007-4268-BCBB-532395EDDD4E}" srcOrd="0" destOrd="0" presId="urn:microsoft.com/office/officeart/2005/8/layout/hList2"/>
    <dgm:cxn modelId="{B4B5D607-8656-4A6C-9FA6-B7690B802FAD}" srcId="{B3569C89-187D-43C0-8594-08AAC088F948}" destId="{CD7D1B40-9173-462C-980B-C085274BBF16}" srcOrd="1" destOrd="0" parTransId="{05CA6D4E-985D-465A-BE8B-EE7957CD1537}" sibTransId="{110650CA-8E8E-4750-AB33-9283AF677192}"/>
    <dgm:cxn modelId="{06F26BDD-2B91-4B7B-AC9A-466EF28DD729}" srcId="{B3569C89-187D-43C0-8594-08AAC088F948}" destId="{887ADDAC-C82C-419B-B362-906D160CCA77}" srcOrd="4" destOrd="0" parTransId="{24C4C60B-C68A-4D63-BC08-B06A20AF7199}" sibTransId="{3ADF0B90-C281-458E-A384-0AEF4CB02CCE}"/>
    <dgm:cxn modelId="{76F19456-E561-4BC1-B740-F11DFAF24326}" srcId="{B3569C89-187D-43C0-8594-08AAC088F948}" destId="{F338767C-4A6E-4E4B-9B64-E400C777523C}" srcOrd="6" destOrd="0" parTransId="{F250183E-34E4-4F04-8040-A4B55199F1EE}" sibTransId="{422A690C-381B-4A35-A740-8188D2D949D8}"/>
    <dgm:cxn modelId="{AFE34C72-8001-4047-AC5A-C27CE7203FE3}" type="presOf" srcId="{9C6CEA5B-45CD-49E7-8D31-35038FBCB471}" destId="{F7049846-0FA7-4376-9C1A-7D2E1907B7A7}" srcOrd="0" destOrd="8" presId="urn:microsoft.com/office/officeart/2005/8/layout/hList2"/>
    <dgm:cxn modelId="{011DB9CD-5902-4FE8-8A24-EC00DF6537B0}" srcId="{B3569C89-187D-43C0-8594-08AAC088F948}" destId="{9C6CEA5B-45CD-49E7-8D31-35038FBCB471}" srcOrd="8" destOrd="0" parTransId="{AB265103-3720-4352-B8E6-593E8FA569A3}" sibTransId="{714E8A40-A2D3-421F-B841-A2DB2236E0F5}"/>
    <dgm:cxn modelId="{B0330D62-1822-4E3E-ADA9-3B83918AABDA}" srcId="{B3569C89-187D-43C0-8594-08AAC088F948}" destId="{CA025125-CE0F-49BB-AC93-AE5F7D6106F4}" srcOrd="2" destOrd="0" parTransId="{692A7DD8-2B8F-4568-848C-115593B5DC52}" sibTransId="{10581E5A-09E9-4A98-A417-5E4C91C01DF4}"/>
    <dgm:cxn modelId="{0FEC68BB-B97D-4340-A0E9-3D7080726CAE}" type="presOf" srcId="{F338767C-4A6E-4E4B-9B64-E400C777523C}" destId="{F7049846-0FA7-4376-9C1A-7D2E1907B7A7}" srcOrd="0" destOrd="6" presId="urn:microsoft.com/office/officeart/2005/8/layout/hList2"/>
    <dgm:cxn modelId="{B67505D3-4BF5-47C0-BD1D-536319F98BDF}" type="presOf" srcId="{A88D67B4-8C15-4647-A98E-793ED39D9015}" destId="{F7049846-0FA7-4376-9C1A-7D2E1907B7A7}" srcOrd="0" destOrd="0" presId="urn:microsoft.com/office/officeart/2005/8/layout/hList2"/>
    <dgm:cxn modelId="{94ABDE73-6505-44E9-9D19-E1567765CB26}" srcId="{B3569C89-187D-43C0-8594-08AAC088F948}" destId="{A3C5B278-1A85-44BA-AE0C-987D306489EF}" srcOrd="5" destOrd="0" parTransId="{A2F57FDE-6743-4D41-9CC0-4532CC287CA6}" sibTransId="{D64D5EAF-770A-4078-B62C-2574CA2C2399}"/>
    <dgm:cxn modelId="{46D10671-8094-4A85-ABBE-5BAD175E922F}" srcId="{7ABD0FA2-C5D7-4F1A-95EE-46F04CCBDEF6}" destId="{B3569C89-187D-43C0-8594-08AAC088F948}" srcOrd="0" destOrd="0" parTransId="{EFFEA475-AB61-4535-8769-D3F93C231618}" sibTransId="{299CD569-DDAF-416A-9A0C-7C8E5DDFF97C}"/>
    <dgm:cxn modelId="{C7E5EE1F-214D-4F11-91FC-AFDE72DD17DC}" srcId="{B3569C89-187D-43C0-8594-08AAC088F948}" destId="{A88D67B4-8C15-4647-A98E-793ED39D9015}" srcOrd="0" destOrd="0" parTransId="{B066B545-6112-4E45-8242-EABA074A61A3}" sibTransId="{2D07D7AC-6F57-4BD9-9EE4-0EE398E3DD70}"/>
    <dgm:cxn modelId="{BC88F7F9-D5C6-43D6-A19C-17884DE7475A}" srcId="{B3569C89-187D-43C0-8594-08AAC088F948}" destId="{D101B147-F41F-4B7B-BF2E-DD30AAB8832C}" srcOrd="7" destOrd="0" parTransId="{F30030FF-CA35-40E1-86B8-08EF9BBAB1AC}" sibTransId="{CE5E5575-AB36-45C4-82AF-C51E3D593B66}"/>
    <dgm:cxn modelId="{FF626C6C-19A5-4E91-87EB-257F4A7F788A}" type="presParOf" srcId="{C654FDB0-3238-42EE-9747-127E0B2125B9}" destId="{F8236F4B-F280-4DA0-B3D8-0EC6AADF90BA}" srcOrd="0" destOrd="0" presId="urn:microsoft.com/office/officeart/2005/8/layout/hList2"/>
    <dgm:cxn modelId="{0970D3E9-38A6-4419-89CD-11BFF178EA53}" type="presParOf" srcId="{F8236F4B-F280-4DA0-B3D8-0EC6AADF90BA}" destId="{93C1D6F5-C40D-4BD4-AA4A-94151DA1B7FD}" srcOrd="0" destOrd="0" presId="urn:microsoft.com/office/officeart/2005/8/layout/hList2"/>
    <dgm:cxn modelId="{E23AE290-B234-4214-BE0C-C0389D9FF3AA}" type="presParOf" srcId="{F8236F4B-F280-4DA0-B3D8-0EC6AADF90BA}" destId="{F7049846-0FA7-4376-9C1A-7D2E1907B7A7}" srcOrd="1" destOrd="0" presId="urn:microsoft.com/office/officeart/2005/8/layout/hList2"/>
    <dgm:cxn modelId="{515A56FB-4B6B-49D6-A7B6-5869F7522741}" type="presParOf" srcId="{F8236F4B-F280-4DA0-B3D8-0EC6AADF90BA}" destId="{0F866C8B-7007-4268-BCBB-532395EDDD4E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B75BD3-8AF5-44BD-B24E-7A64E19B1792}">
      <dsp:nvSpPr>
        <dsp:cNvPr id="0" name=""/>
        <dsp:cNvSpPr/>
      </dsp:nvSpPr>
      <dsp:spPr>
        <a:xfrm>
          <a:off x="547860" y="81917"/>
          <a:ext cx="2212201" cy="1933742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15240" bIns="76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kern="1200" dirty="0">
              <a:solidFill>
                <a:srgbClr val="002060"/>
              </a:solidFill>
            </a:rPr>
            <a:t>Memorandum of </a:t>
          </a:r>
          <a:r>
            <a:rPr lang="it-IT" sz="1200" kern="1200" dirty="0" err="1">
              <a:solidFill>
                <a:srgbClr val="002060"/>
              </a:solidFill>
            </a:rPr>
            <a:t>Understanding</a:t>
          </a:r>
          <a:r>
            <a:rPr lang="it-IT" sz="1200" kern="1200" dirty="0">
              <a:solidFill>
                <a:srgbClr val="002060"/>
              </a:solidFill>
            </a:rPr>
            <a:t> – tappe preliminari di integrazione</a:t>
          </a:r>
        </a:p>
      </dsp:txBody>
      <dsp:txXfrm>
        <a:off x="1100910" y="371978"/>
        <a:ext cx="1078448" cy="1353620"/>
      </dsp:txXfrm>
    </dsp:sp>
    <dsp:sp modelId="{1B751071-FE5F-4CD3-AD09-06B3ACE94E67}">
      <dsp:nvSpPr>
        <dsp:cNvPr id="0" name=""/>
        <dsp:cNvSpPr/>
      </dsp:nvSpPr>
      <dsp:spPr>
        <a:xfrm>
          <a:off x="0" y="81920"/>
          <a:ext cx="1106100" cy="1106100"/>
        </a:xfrm>
        <a:prstGeom prst="ellipse">
          <a:avLst/>
        </a:prstGeom>
        <a:solidFill>
          <a:srgbClr val="00206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dirty="0"/>
            <a:t>Maggio 2016</a:t>
          </a:r>
        </a:p>
      </dsp:txBody>
      <dsp:txXfrm>
        <a:off x="161985" y="243905"/>
        <a:ext cx="782130" cy="782130"/>
      </dsp:txXfrm>
    </dsp:sp>
    <dsp:sp modelId="{8AD53FF4-3F3F-4580-BA9B-7C932F70E621}">
      <dsp:nvSpPr>
        <dsp:cNvPr id="0" name=""/>
        <dsp:cNvSpPr/>
      </dsp:nvSpPr>
      <dsp:spPr>
        <a:xfrm>
          <a:off x="3310170" y="449927"/>
          <a:ext cx="2212201" cy="1933742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15240" bIns="76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kern="1200" dirty="0">
              <a:solidFill>
                <a:srgbClr val="002060"/>
              </a:solidFill>
            </a:rPr>
            <a:t>Lettera d’Intenti – definizione nuova configurazione</a:t>
          </a:r>
        </a:p>
      </dsp:txBody>
      <dsp:txXfrm>
        <a:off x="3863220" y="739988"/>
        <a:ext cx="1078448" cy="1353620"/>
      </dsp:txXfrm>
    </dsp:sp>
    <dsp:sp modelId="{2D4D6BA8-0EB6-4ACF-8A84-19FE429DC5B4}">
      <dsp:nvSpPr>
        <dsp:cNvPr id="0" name=""/>
        <dsp:cNvSpPr/>
      </dsp:nvSpPr>
      <dsp:spPr>
        <a:xfrm>
          <a:off x="2721901" y="866842"/>
          <a:ext cx="1106100" cy="1106100"/>
        </a:xfrm>
        <a:prstGeom prst="ellipse">
          <a:avLst/>
        </a:prstGeom>
        <a:solidFill>
          <a:srgbClr val="00206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dirty="0"/>
            <a:t>Febbraio 2017</a:t>
          </a:r>
        </a:p>
      </dsp:txBody>
      <dsp:txXfrm>
        <a:off x="2883886" y="1028827"/>
        <a:ext cx="782130" cy="782130"/>
      </dsp:txXfrm>
    </dsp:sp>
    <dsp:sp modelId="{485A20BD-19A8-4B1B-8622-ED463F587245}">
      <dsp:nvSpPr>
        <dsp:cNvPr id="0" name=""/>
        <dsp:cNvSpPr/>
      </dsp:nvSpPr>
      <dsp:spPr>
        <a:xfrm>
          <a:off x="6368450" y="718118"/>
          <a:ext cx="2212201" cy="1933742"/>
        </a:xfrm>
        <a:prstGeom prst="rightArrow">
          <a:avLst>
            <a:gd name="adj1" fmla="val 70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15240" bIns="76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kern="1200" dirty="0">
              <a:solidFill>
                <a:srgbClr val="002060"/>
              </a:solidFill>
            </a:rPr>
            <a:t>Fusione per </a:t>
          </a:r>
          <a:r>
            <a:rPr lang="it-IT" sz="1200" kern="1200" dirty="0" err="1">
              <a:solidFill>
                <a:srgbClr val="002060"/>
              </a:solidFill>
            </a:rPr>
            <a:t>incorporazioneNasce</a:t>
          </a:r>
          <a:r>
            <a:rPr lang="it-IT" sz="1200" kern="1200" dirty="0">
              <a:solidFill>
                <a:srgbClr val="002060"/>
              </a:solidFill>
            </a:rPr>
            <a:t> Elettricità Futura</a:t>
          </a:r>
        </a:p>
      </dsp:txBody>
      <dsp:txXfrm>
        <a:off x="6921501" y="1008179"/>
        <a:ext cx="1078448" cy="1353620"/>
      </dsp:txXfrm>
    </dsp:sp>
    <dsp:sp modelId="{F36411E5-53D7-4A1D-8220-06B38D811A3C}">
      <dsp:nvSpPr>
        <dsp:cNvPr id="0" name=""/>
        <dsp:cNvSpPr/>
      </dsp:nvSpPr>
      <dsp:spPr>
        <a:xfrm>
          <a:off x="5736092" y="1199336"/>
          <a:ext cx="1106100" cy="1106100"/>
        </a:xfrm>
        <a:prstGeom prst="ellipse">
          <a:avLst/>
        </a:prstGeom>
        <a:solidFill>
          <a:srgbClr val="00206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dirty="0"/>
            <a:t>Maggio 2017</a:t>
          </a:r>
        </a:p>
      </dsp:txBody>
      <dsp:txXfrm>
        <a:off x="5898077" y="1361321"/>
        <a:ext cx="782130" cy="7821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945048-1F3B-4EBA-A6EA-57A8E9912020}">
      <dsp:nvSpPr>
        <dsp:cNvPr id="0" name=""/>
        <dsp:cNvSpPr/>
      </dsp:nvSpPr>
      <dsp:spPr>
        <a:xfrm>
          <a:off x="1044219" y="305672"/>
          <a:ext cx="1660208" cy="139594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2060">
              <a:alpha val="9000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>
              <a:solidFill>
                <a:srgbClr val="002060"/>
              </a:solidFill>
            </a:rPr>
            <a:t>Dimensione aziendale / numerosità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>
              <a:solidFill>
                <a:srgbClr val="17375E"/>
              </a:solidFill>
              <a:latin typeface="Arial" panose="020B0604020202020204" pitchFamily="34" charset="0"/>
              <a:cs typeface="Arial" panose="020B0604020202020204" pitchFamily="34" charset="0"/>
            </a:rPr>
            <a:t>Business e policy prevalente</a:t>
          </a:r>
          <a:endParaRPr lang="it-IT" sz="1400" kern="1200" dirty="0"/>
        </a:p>
      </dsp:txBody>
      <dsp:txXfrm>
        <a:off x="1309852" y="305672"/>
        <a:ext cx="1394575" cy="1395941"/>
      </dsp:txXfrm>
    </dsp:sp>
    <dsp:sp modelId="{F800E5DA-CF9B-4B11-9029-1BB1D3A31A8F}">
      <dsp:nvSpPr>
        <dsp:cNvPr id="0" name=""/>
        <dsp:cNvSpPr/>
      </dsp:nvSpPr>
      <dsp:spPr>
        <a:xfrm>
          <a:off x="96069" y="22645"/>
          <a:ext cx="1259345" cy="1252538"/>
        </a:xfrm>
        <a:prstGeom prst="ellipse">
          <a:avLst/>
        </a:prstGeom>
        <a:solidFill>
          <a:srgbClr val="00206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b="1" kern="1200" dirty="0"/>
            <a:t>Associati</a:t>
          </a:r>
        </a:p>
      </dsp:txBody>
      <dsp:txXfrm>
        <a:off x="280496" y="206075"/>
        <a:ext cx="890491" cy="88567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866C8B-7007-4268-BCBB-532395EDDD4E}">
      <dsp:nvSpPr>
        <dsp:cNvPr id="0" name=""/>
        <dsp:cNvSpPr/>
      </dsp:nvSpPr>
      <dsp:spPr>
        <a:xfrm rot="16200000">
          <a:off x="-1634022" y="2376617"/>
          <a:ext cx="3656393" cy="372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682156" bIns="0" numCol="1" spcCol="1270" anchor="t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8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…</a:t>
          </a:r>
          <a:r>
            <a:rPr lang="it-IT" sz="2800" kern="1200" dirty="0" err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Latest</a:t>
          </a:r>
          <a:endParaRPr lang="it-IT" sz="28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-1634022" y="2376617"/>
        <a:ext cx="3656393" cy="372703"/>
      </dsp:txXfrm>
    </dsp:sp>
    <dsp:sp modelId="{F7049846-0FA7-4376-9C1A-7D2E1907B7A7}">
      <dsp:nvSpPr>
        <dsp:cNvPr id="0" name=""/>
        <dsp:cNvSpPr/>
      </dsp:nvSpPr>
      <dsp:spPr>
        <a:xfrm>
          <a:off x="492719" y="637548"/>
          <a:ext cx="7510995" cy="3744000"/>
        </a:xfrm>
        <a:prstGeom prst="rect">
          <a:avLst/>
        </a:prstGeom>
        <a:solidFill>
          <a:srgbClr val="00206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3792" tIns="540000" rIns="113792" bIns="113792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Font typeface="Wingdings" panose="05000000000000000000" pitchFamily="2" charset="2"/>
            <a:buChar char="••"/>
          </a:pPr>
          <a:r>
            <a:rPr lang="it-IT" sz="1600" b="0" i="0" u="none" strike="noStrike" kern="1200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Consolidamento base Associativa (</a:t>
          </a:r>
          <a:r>
            <a:rPr lang="it-IT" sz="1600" b="0" i="0" u="none" strike="noStrike" kern="1200" cap="none" dirty="0" err="1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scouting</a:t>
          </a:r>
          <a:r>
            <a:rPr lang="it-IT" sz="1600" b="0" i="0" u="none" strike="noStrike" kern="1200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, coinvolgimento mirato su eventi EF, attivazione nuovi strumenti di comunicazione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Font typeface="Wingdings" panose="05000000000000000000" pitchFamily="2" charset="2"/>
            <a:buChar char="••"/>
          </a:pPr>
          <a:endParaRPr lang="it-IT" sz="1600" b="0" i="0" u="none" strike="noStrike" kern="1200" cap="none" dirty="0">
            <a:solidFill>
              <a:schemeClr val="bg1"/>
            </a:solidFill>
            <a:latin typeface="Arial" panose="020B0604020202020204" pitchFamily="34" charset="0"/>
            <a:ea typeface="Arial"/>
            <a:cs typeface="Arial" panose="020B0604020202020204" pitchFamily="34" charset="0"/>
            <a:sym typeface="Arial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••"/>
          </a:pPr>
          <a:r>
            <a:rPr lang="it-IT" sz="1600" b="0" i="0" u="none" strike="noStrike" kern="1200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Attività di formazione (EF Academy; Partnership con Centri di Formazione; convenzione con </a:t>
          </a:r>
          <a:r>
            <a:rPr lang="it-IT" sz="1600" b="0" i="0" u="none" strike="noStrike" kern="1200" cap="none" dirty="0" err="1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Federmanager</a:t>
          </a:r>
          <a:r>
            <a:rPr lang="it-IT" sz="1600" b="0" i="0" u="none" strike="noStrike" kern="1200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••"/>
          </a:pPr>
          <a:endParaRPr lang="it-IT" sz="1600" b="0" i="0" u="none" strike="noStrike" kern="1200" cap="none" dirty="0">
            <a:solidFill>
              <a:schemeClr val="bg1"/>
            </a:solidFill>
            <a:latin typeface="Arial" panose="020B0604020202020204" pitchFamily="34" charset="0"/>
            <a:ea typeface="Arial"/>
            <a:cs typeface="Arial" panose="020B0604020202020204" pitchFamily="34" charset="0"/>
            <a:sym typeface="Arial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••"/>
          </a:pPr>
          <a:r>
            <a:rPr lang="it-IT" sz="1600" b="0" i="0" u="none" strike="noStrike" kern="1200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Progetti/Eventi comuni con associazioni «competitor»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••"/>
          </a:pPr>
          <a:endParaRPr lang="it-IT" sz="1600" b="0" i="0" u="none" strike="noStrike" kern="1200" cap="none" dirty="0">
            <a:solidFill>
              <a:schemeClr val="bg1"/>
            </a:solidFill>
            <a:latin typeface="Arial" panose="020B0604020202020204" pitchFamily="34" charset="0"/>
            <a:ea typeface="Arial"/>
            <a:cs typeface="Arial" panose="020B0604020202020204" pitchFamily="34" charset="0"/>
            <a:sym typeface="Arial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••"/>
          </a:pPr>
          <a:r>
            <a:rPr lang="it-IT" sz="1600" b="0" i="0" u="none" strike="noStrike" kern="1200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Coinvolgimento Istituzioni su programmi divulgativi (es. Roadshow </a:t>
          </a:r>
          <a:r>
            <a:rPr lang="it-IT" sz="1600" b="0" i="1" u="none" strike="noStrike" kern="1200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L’Europa Incontra i Territori dell’Energia; «La Filiera dell’Elettricità Italiana»: la transizione energetica spiegata all’estero</a:t>
          </a:r>
          <a:r>
            <a:rPr lang="it-IT" sz="1600" b="0" i="0" u="none" strike="noStrike" kern="1200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••"/>
          </a:pPr>
          <a:endParaRPr lang="it-IT" sz="1600" b="0" i="0" u="none" strike="noStrike" kern="1200" cap="none" dirty="0">
            <a:solidFill>
              <a:schemeClr val="bg1"/>
            </a:solidFill>
            <a:latin typeface="Arial" panose="020B0604020202020204" pitchFamily="34" charset="0"/>
            <a:ea typeface="Arial"/>
            <a:cs typeface="Arial" panose="020B0604020202020204" pitchFamily="34" charset="0"/>
            <a:sym typeface="Arial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••"/>
          </a:pPr>
          <a:r>
            <a:rPr lang="it-IT" sz="1600" b="0" i="0" u="none" strike="noStrike" kern="1200" cap="none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rPr>
            <a:t>…..Work in progress</a:t>
          </a:r>
          <a:endParaRPr lang="it-IT" sz="1600" b="0" i="1" u="none" strike="noStrike" kern="1200" cap="none" dirty="0">
            <a:solidFill>
              <a:schemeClr val="bg1"/>
            </a:solidFill>
            <a:latin typeface="Arial" panose="020B0604020202020204" pitchFamily="34" charset="0"/>
            <a:ea typeface="Arial"/>
            <a:cs typeface="Arial" panose="020B0604020202020204" pitchFamily="34" charset="0"/>
            <a:sym typeface="Arial"/>
          </a:endParaRPr>
        </a:p>
      </dsp:txBody>
      <dsp:txXfrm>
        <a:off x="492719" y="637548"/>
        <a:ext cx="7510995" cy="3744000"/>
      </dsp:txXfrm>
    </dsp:sp>
    <dsp:sp modelId="{93C1D6F5-C40D-4BD4-AA4A-94151DA1B7FD}">
      <dsp:nvSpPr>
        <dsp:cNvPr id="0" name=""/>
        <dsp:cNvSpPr/>
      </dsp:nvSpPr>
      <dsp:spPr>
        <a:xfrm>
          <a:off x="197755" y="0"/>
          <a:ext cx="924154" cy="944280"/>
        </a:xfrm>
        <a:prstGeom prst="rect">
          <a:avLst/>
        </a:prstGeom>
        <a:blipFill dpi="0" rotWithShape="1">
          <a:blip xmlns:r="http://schemas.openxmlformats.org/officeDocument/2006/relationships" r:embed="rId1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682" t="340" r="1682" b="340"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6">
  <dgm:title val=""/>
  <dgm:desc val=""/>
  <dgm:catLst>
    <dgm:cat type="process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L"/>
          <dgm:param type="nodeHorzAlign" val="l"/>
        </dgm:alg>
      </dgm:if>
      <dgm:else name="Name2">
        <dgm:alg type="lin">
          <dgm:param type="linDir" val="from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refFor="ch" refForName="compNode" fact="0.7"/>
      <dgm:constr type="ctrY" for="ch" forName="compNode" refType="h" fact="0.5"/>
      <dgm:constr type="w" for="ch" forName="aSpace" refType="w" fact="0.05"/>
      <dgm:constr type="primFontSz" for="des" forName="childTextHidden" op="equ" val="65"/>
      <dgm:constr type="primFontSz" for="des" forName="parentText" op="equ"/>
    </dgm:constrLst>
    <dgm:ruleLst/>
    <dgm:forEach name="aNodeForEach" axis="ch" ptType="node">
      <dgm:layoutNode name="compNode">
        <dgm:alg type="composite">
          <dgm:param type="ar" val="1.43"/>
        </dgm:alg>
        <dgm:shape xmlns:r="http://schemas.openxmlformats.org/officeDocument/2006/relationships" r:blip="">
          <dgm:adjLst/>
        </dgm:shape>
        <dgm:presOf/>
        <dgm:choose name="Name3">
          <dgm:if name="Name4" func="var" arg="dir" op="equ" val="norm">
            <dgm:constrLst>
              <dgm:constr type="w" for="ch" forName="childTextVisible" refType="w" fact="0.8"/>
              <dgm:constr type="h" for="ch" forName="childTextVisible" refType="h"/>
              <dgm:constr type="r" for="ch" forName="childTextVisible" refType="w"/>
              <dgm:constr type="w" for="ch" forName="childTextHidden" refType="w" fact="0.6"/>
              <dgm:constr type="h" for="ch" forName="childTextHidden" refType="h"/>
              <dgm:constr type="r" for="ch" forName="childTextHidden" refType="w"/>
              <dgm:constr type="l" for="ch" forName="parentText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if>
          <dgm:else name="Name5">
            <dgm:constrLst>
              <dgm:constr type="w" for="ch" forName="childTextVisible" refType="w" fact="0.8"/>
              <dgm:constr type="h" for="ch" forName="childTextVisible" refType="h"/>
              <dgm:constr type="l" for="ch" forName="childTextVisible"/>
              <dgm:constr type="w" for="ch" forName="childTextHidden" refType="w" fact="0.6"/>
              <dgm:constr type="h" for="ch" forName="childTextHidden" refType="h"/>
              <dgm:constr type="l" for="ch" forName="childTextHidden"/>
              <dgm:constr type="r" for="ch" forName="parentText" refType="w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else>
        </dgm:choose>
        <dgm:ruleLst/>
        <dgm:layoutNode name="noGeometry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childTextVisible" styleLbl="bgAccFollowNode1">
          <dgm:varLst>
            <dgm:bulletEnabled val="1"/>
          </dgm:varLst>
          <dgm:alg type="sp"/>
          <dgm:choose name="Name6">
            <dgm:if name="Name7" func="var" arg="dir" op="equ" val="norm">
              <dgm:shape xmlns:r="http://schemas.openxmlformats.org/officeDocument/2006/relationships" type="rightArrow" r:blip="">
                <dgm:adjLst>
                  <dgm:adj idx="1" val="0.7"/>
                  <dgm:adj idx="2" val="0.5"/>
                </dgm:adjLst>
              </dgm:shape>
            </dgm:if>
            <dgm:else name="Name8">
              <dgm:shape xmlns:r="http://schemas.openxmlformats.org/officeDocument/2006/relationships" type="leftArrow" r:blip="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/>
          <dgm:ruleLst/>
        </dgm:layoutNode>
        <dgm:layoutNode name="childTextHidden" styleLbl="bgAccFollowNode1">
          <dgm:choose name="Name9">
            <dgm:if name="Name10" axis="des followSib" ptType="node node" st="1 1" cnt="1 0" func="cnt" op="gte" val="1">
              <dgm:alg type="tx">
                <dgm:param type="stBulletLvl" val="1"/>
                <dgm:param type="txAnchorVertCh" val="mid"/>
              </dgm:alg>
            </dgm:if>
            <dgm:else name="Name11">
              <dgm:alg type="tx">
                <dgm:param type="stBulletLvl" val="2"/>
                <dgm:param type="txAnchorVertCh" val="mid"/>
              </dgm:alg>
            </dgm:else>
          </dgm:choose>
          <dgm:choose name="Name12">
            <dgm:if name="Name13" func="var" arg="dir" op="equ" val="norm">
              <dgm:shape xmlns:r="http://schemas.openxmlformats.org/officeDocument/2006/relationships" type="rightArrow" r:blip="" hideGeom="1">
                <dgm:adjLst>
                  <dgm:adj idx="1" val="0.7"/>
                  <dgm:adj idx="2" val="0.5"/>
                </dgm:adjLst>
              </dgm:shape>
            </dgm:if>
            <dgm:else name="Name14">
              <dgm:shape xmlns:r="http://schemas.openxmlformats.org/officeDocument/2006/relationships" type="leftArrow" r:blip="" hideGeom="1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rMarg" refType="primFontSz" fact="0.1"/>
            <dgm:constr type="lMarg" refType="primFontSz" fact="0.2"/>
          </dgm:constrLst>
          <dgm:ruleLst>
            <dgm:rule type="primFontSz" val="5" fact="NaN" max="NaN"/>
          </dgm:ruleLst>
        </dgm:layoutNode>
        <dgm:layoutNode name="parentText" styleLbl="node1">
          <dgm:varLst>
            <dgm:chMax val="1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primFontSz" val="65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choose name="Name15">
        <dgm:if name="Name16" axis="self" ptType="node" func="revPos" op="gte" val="2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9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fallback" val="2D"/>
          <dgm:param type="nodeVertAlign" val="t"/>
        </dgm:alg>
      </dgm:if>
      <dgm:else name="Name2">
        <dgm:alg type="lin">
          <dgm:param type="linDir" val="fromR"/>
          <dgm:param type="fallback" val="2D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917" cy="512058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4020725" y="0"/>
            <a:ext cx="3076917" cy="512058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r">
              <a:defRPr sz="1200"/>
            </a:lvl1pPr>
          </a:lstStyle>
          <a:p>
            <a:fld id="{4A2C58B3-5D56-41D4-A6ED-B109EA8B4280}" type="datetimeFigureOut">
              <a:rPr lang="it-IT" smtClean="0"/>
              <a:t>13/05/2019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720919"/>
            <a:ext cx="3076917" cy="512058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4020725" y="9720919"/>
            <a:ext cx="3076917" cy="512058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r">
              <a:defRPr sz="1200"/>
            </a:lvl1pPr>
          </a:lstStyle>
          <a:p>
            <a:fld id="{69142AC2-C2F3-41E2-ADC9-F447EA4E7A8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838120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077137" cy="5123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733" tIns="47366" rIns="94733" bIns="47366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020507" y="0"/>
            <a:ext cx="3077137" cy="5123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733" tIns="47366" rIns="94733" bIns="47366" anchor="t" anchorCtr="0"/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990600" y="768350"/>
            <a:ext cx="5119688" cy="3838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09601" y="4861157"/>
            <a:ext cx="5680103" cy="46058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733" tIns="47366" rIns="94733" bIns="47366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9720675"/>
            <a:ext cx="3077137" cy="5123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733" tIns="47366" rIns="94733" bIns="47366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020507" y="9720675"/>
            <a:ext cx="3077137" cy="5123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733" tIns="47366" rIns="94733" bIns="47366" anchor="b" anchorCtr="0">
            <a:noAutofit/>
          </a:bodyPr>
          <a:lstStyle/>
          <a:p>
            <a:pPr algn="r">
              <a:buSzPts val="1200"/>
            </a:pPr>
            <a:fld id="{00000000-1234-1234-1234-123412341234}" type="slidenum">
              <a:rPr lang="en-US" sz="1200" smtClean="0">
                <a:solidFill>
                  <a:schemeClr val="dk1"/>
                </a:solidFill>
              </a:rPr>
              <a:pPr algn="r">
                <a:buSzPts val="1200"/>
              </a:pPr>
              <a:t>‹N›</a:t>
            </a:fld>
            <a:endParaRPr lang="en-US" sz="120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982891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Google Shape;260;p1:notes"/>
          <p:cNvSpPr txBox="1">
            <a:spLocks noGrp="1"/>
          </p:cNvSpPr>
          <p:nvPr>
            <p:ph type="body" idx="1"/>
          </p:nvPr>
        </p:nvSpPr>
        <p:spPr>
          <a:xfrm>
            <a:off x="709601" y="4861157"/>
            <a:ext cx="5680103" cy="46058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733" tIns="47366" rIns="94733" bIns="47366" anchor="t" anchorCtr="0">
            <a:noAutofit/>
          </a:bodyPr>
          <a:lstStyle/>
          <a:p>
            <a:pPr marL="0" indent="0"/>
            <a:endParaRPr/>
          </a:p>
        </p:txBody>
      </p:sp>
      <p:sp>
        <p:nvSpPr>
          <p:cNvPr id="261" name="Google Shape;26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768350"/>
            <a:ext cx="5119688" cy="3838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76017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>
              <a:buSzPts val="1200"/>
            </a:pPr>
            <a:fld id="{00000000-1234-1234-1234-123412341234}" type="slidenum">
              <a:rPr lang="en-US" sz="1200">
                <a:solidFill>
                  <a:schemeClr val="dk1"/>
                </a:solidFill>
              </a:rPr>
              <a:pPr algn="r">
                <a:buSzPts val="1200"/>
              </a:pPr>
              <a:t>3</a:t>
            </a:fld>
            <a:endParaRPr lang="en-US" sz="120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5608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7" name="Google Shape;1197;p35:notes"/>
          <p:cNvSpPr txBox="1">
            <a:spLocks noGrp="1"/>
          </p:cNvSpPr>
          <p:nvPr>
            <p:ph type="body" idx="1"/>
          </p:nvPr>
        </p:nvSpPr>
        <p:spPr>
          <a:xfrm>
            <a:off x="741087" y="5011974"/>
            <a:ext cx="5932139" cy="47487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8189" tIns="49095" rIns="98189" bIns="49095" anchor="t" anchorCtr="0">
            <a:noAutofit/>
          </a:bodyPr>
          <a:lstStyle/>
          <a:p>
            <a:pPr marL="0" indent="0"/>
            <a:endParaRPr/>
          </a:p>
        </p:txBody>
      </p:sp>
      <p:sp>
        <p:nvSpPr>
          <p:cNvPr id="1198" name="Google Shape;1198;p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069975" y="792163"/>
            <a:ext cx="5278438" cy="39576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3455592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olo e contenuto" type="obj">
  <p:cSld name="OBJEC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2"/>
          <p:cNvSpPr txBox="1">
            <a:spLocks noGrp="1"/>
          </p:cNvSpPr>
          <p:nvPr>
            <p:ph type="title"/>
          </p:nvPr>
        </p:nvSpPr>
        <p:spPr>
          <a:xfrm>
            <a:off x="214282" y="928670"/>
            <a:ext cx="8786874" cy="9286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"/>
          <p:cNvSpPr txBox="1">
            <a:spLocks noGrp="1"/>
          </p:cNvSpPr>
          <p:nvPr>
            <p:ph type="body" idx="1"/>
          </p:nvPr>
        </p:nvSpPr>
        <p:spPr>
          <a:xfrm>
            <a:off x="214313" y="1928813"/>
            <a:ext cx="8786812" cy="4357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" name="Google Shape;20;p2"/>
          <p:cNvSpPr txBox="1">
            <a:spLocks noGrp="1"/>
          </p:cNvSpPr>
          <p:nvPr>
            <p:ph type="dt" idx="10"/>
          </p:nvPr>
        </p:nvSpPr>
        <p:spPr>
          <a:xfrm>
            <a:off x="214313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6174F867-C045-427B-BE5C-2C546DD67E96}" type="datetime1">
              <a:rPr lang="en-GB" smtClean="0"/>
              <a:t>13/05/2019</a:t>
            </a:fld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ftr" idx="11"/>
          </p:nvPr>
        </p:nvSpPr>
        <p:spPr>
          <a:xfrm>
            <a:off x="314325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New Market Design - Impact Assessment</a:t>
            </a:r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6902450" y="6308725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1428736"/>
            <a:ext cx="77724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571876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7D5D97-E407-4ED8-8927-65C7BF706963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3/05/2019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ew Market Design - Impact Assessment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942C93-C830-4870-A6EF-57ED1839876D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6751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14282" y="928670"/>
            <a:ext cx="8786874" cy="928694"/>
          </a:xfrm>
        </p:spPr>
        <p:txBody>
          <a:bodyPr/>
          <a:lstStyle>
            <a:lvl1pPr>
              <a:defRPr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D346E9-E818-4F1C-9490-31092E6B21A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3/05/2019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ew Market Design - Impact Assessment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B579B6-E544-45AC-A5F8-AE9BCA0D0EF6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8547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1000108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ABA031-F6CD-4E91-9A8A-E8BEB939C6A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3/05/2019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ew Market Design - Impact Assessment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3900D3-5885-4C87-9CA9-E5AC3E17299E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2993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42844" y="857233"/>
            <a:ext cx="8858312" cy="857256"/>
          </a:xfrm>
        </p:spPr>
        <p:txBody>
          <a:bodyPr/>
          <a:lstStyle/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247648" y="1760557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29190" y="1760557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94BEDB-4DEE-48C3-956F-657A7EC3703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3/05/2019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ew Market Design - Impact Assessment</a:t>
            </a:r>
            <a:endParaRPr lang="it-IT"/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6CDD04-6581-4928-B834-C4BF32A30A50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8600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42844" y="857233"/>
            <a:ext cx="8858312" cy="571504"/>
          </a:xfr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71612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335232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71612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335232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DBE3C9-42B9-4E0E-A9E6-9380DEEA3AC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3/05/2019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ew Market Design - Impact Assessment</a:t>
            </a:r>
            <a:endParaRPr lang="it-IT"/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A813A5-BEE0-411A-8261-4533342A102E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9858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00FE7C-063E-4051-B47E-08FE6206E6E1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3/05/2019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ew Market Design - Impact Assessment</a:t>
            </a:r>
            <a:endParaRPr lang="it-IT"/>
          </a:p>
        </p:txBody>
      </p:sp>
      <p:sp>
        <p:nvSpPr>
          <p:cNvPr id="5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94A66F-0F56-4C4E-B105-395943C703B3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3326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85ECB1-C26E-4980-8A90-6CD73D19007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3/05/2019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ew Market Design - Impact Assessment</a:t>
            </a:r>
            <a:endParaRPr lang="it-IT"/>
          </a:p>
        </p:txBody>
      </p:sp>
      <p:sp>
        <p:nvSpPr>
          <p:cNvPr id="4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877F65-FDD1-45D0-AA7F-E7487EE13E41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06369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909628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946151"/>
            <a:ext cx="5111750" cy="526893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2214554"/>
            <a:ext cx="3008313" cy="391160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D809A4-13C6-4C39-A6F9-01A1FD2EA7F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3/05/2019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ew Market Design - Impact Assessment</a:t>
            </a:r>
            <a:endParaRPr lang="it-IT"/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CF207A-2398-4CFE-A46B-E7844BD11E08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8913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857231"/>
            <a:ext cx="5486400" cy="3870343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it-IT" noProof="0"/>
              <a:t>Fare clic sull'icona per inserire un'immagine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4126DD-1597-45EC-8045-4384832CB25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3/05/2019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ew Market Design - Impact Assessment</a:t>
            </a:r>
            <a:endParaRPr lang="it-IT"/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871416-F982-4560-8382-209E01490FB4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5241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7578F1-8F09-4A97-9CE2-B9323B7738F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3/05/2019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ew Market Design - Impact Assessment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AAC021-841F-4E5E-A07E-610C8634D068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0348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estazione sezione" type="secHead">
  <p:cSld name="SECTION_HEADER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2"/>
          <p:cNvSpPr txBox="1"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1" cap="none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12"/>
          <p:cNvSpPr txBox="1">
            <a:spLocks noGrp="1"/>
          </p:cNvSpPr>
          <p:nvPr>
            <p:ph type="body" idx="1"/>
          </p:nvPr>
        </p:nvSpPr>
        <p:spPr>
          <a:xfrm>
            <a:off x="722313" y="1000108"/>
            <a:ext cx="77724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L="457200" lvl="0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12"/>
          <p:cNvSpPr txBox="1">
            <a:spLocks noGrp="1"/>
          </p:cNvSpPr>
          <p:nvPr>
            <p:ph type="dt" idx="10"/>
          </p:nvPr>
        </p:nvSpPr>
        <p:spPr>
          <a:xfrm>
            <a:off x="214313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ED070DEB-0A43-479A-A06C-8D597C13217D}" type="datetime1">
              <a:rPr lang="en-GB" smtClean="0"/>
              <a:t>13/05/2019</a:t>
            </a:fld>
            <a:endParaRPr/>
          </a:p>
        </p:txBody>
      </p:sp>
      <p:sp>
        <p:nvSpPr>
          <p:cNvPr id="85" name="Google Shape;85;p12"/>
          <p:cNvSpPr txBox="1">
            <a:spLocks noGrp="1"/>
          </p:cNvSpPr>
          <p:nvPr>
            <p:ph type="ftr" idx="11"/>
          </p:nvPr>
        </p:nvSpPr>
        <p:spPr>
          <a:xfrm>
            <a:off x="314325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New Market Design - Impact Assessment</a:t>
            </a:r>
            <a:endParaRPr/>
          </a:p>
        </p:txBody>
      </p:sp>
      <p:sp>
        <p:nvSpPr>
          <p:cNvPr id="86" name="Google Shape;86;p12"/>
          <p:cNvSpPr txBox="1">
            <a:spLocks noGrp="1"/>
          </p:cNvSpPr>
          <p:nvPr>
            <p:ph type="sldNum" idx="12"/>
          </p:nvPr>
        </p:nvSpPr>
        <p:spPr>
          <a:xfrm>
            <a:off x="6902450" y="6308725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1071546"/>
            <a:ext cx="2057400" cy="5054617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1071546"/>
            <a:ext cx="6019800" cy="5054617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B5445A-F174-4955-B515-63EBB41CBFF3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3/05/2019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ew Market Design - Impact Assessment</a:t>
            </a: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0F66E2-CCB3-4E1C-BE6E-FD8F93992462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012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8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7" name="Ogget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7DA6354D-A801-4812-9CF1-2ADD4069BB39}" type="datetime1">
              <a:rPr lang="en-GB" smtClean="0">
                <a:solidFill>
                  <a:srgbClr val="C6C6C6">
                    <a:lumMod val="75000"/>
                  </a:srgbClr>
                </a:solidFill>
              </a:rPr>
              <a:t>13/05/2019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>
                <a:solidFill>
                  <a:srgbClr val="C6C6C6">
                    <a:lumMod val="75000"/>
                  </a:srgbClr>
                </a:solidFill>
              </a:rPr>
              <a:t>New Market Design - Impact Assessment</a:t>
            </a:r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1085367"/>
            <a:ext cx="6281738" cy="276999"/>
          </a:xfrm>
        </p:spPr>
        <p:txBody>
          <a:bodyPr rIns="0">
            <a:noAutofit/>
          </a:bodyPr>
          <a:lstStyle>
            <a:lvl1pPr>
              <a:defRPr sz="135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5225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ue contenuti" type="twoObj">
  <p:cSld name="TWO_OBJECTS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13"/>
          <p:cNvSpPr txBox="1">
            <a:spLocks noGrp="1"/>
          </p:cNvSpPr>
          <p:nvPr>
            <p:ph type="title"/>
          </p:nvPr>
        </p:nvSpPr>
        <p:spPr>
          <a:xfrm>
            <a:off x="142844" y="857233"/>
            <a:ext cx="8858312" cy="857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13"/>
          <p:cNvSpPr txBox="1">
            <a:spLocks noGrp="1"/>
          </p:cNvSpPr>
          <p:nvPr>
            <p:ph type="body" idx="1"/>
          </p:nvPr>
        </p:nvSpPr>
        <p:spPr>
          <a:xfrm>
            <a:off x="247648" y="1760557"/>
            <a:ext cx="4038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2400"/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1800"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1800"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90" name="Google Shape;90;p13"/>
          <p:cNvSpPr txBox="1">
            <a:spLocks noGrp="1"/>
          </p:cNvSpPr>
          <p:nvPr>
            <p:ph type="body" idx="2"/>
          </p:nvPr>
        </p:nvSpPr>
        <p:spPr>
          <a:xfrm>
            <a:off x="4929190" y="1760557"/>
            <a:ext cx="4038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2400"/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1800"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1800"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91" name="Google Shape;91;p13"/>
          <p:cNvSpPr txBox="1">
            <a:spLocks noGrp="1"/>
          </p:cNvSpPr>
          <p:nvPr>
            <p:ph type="dt" idx="10"/>
          </p:nvPr>
        </p:nvSpPr>
        <p:spPr>
          <a:xfrm>
            <a:off x="214313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A2D4CBC1-7D6F-48A2-A68B-C0B99D6FE33C}" type="datetime1">
              <a:rPr lang="en-GB" smtClean="0"/>
              <a:t>13/05/2019</a:t>
            </a:fld>
            <a:endParaRPr/>
          </a:p>
        </p:txBody>
      </p:sp>
      <p:sp>
        <p:nvSpPr>
          <p:cNvPr id="92" name="Google Shape;92;p13"/>
          <p:cNvSpPr txBox="1">
            <a:spLocks noGrp="1"/>
          </p:cNvSpPr>
          <p:nvPr>
            <p:ph type="ftr" idx="11"/>
          </p:nvPr>
        </p:nvSpPr>
        <p:spPr>
          <a:xfrm>
            <a:off x="314325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New Market Design - Impact Assessment</a:t>
            </a:r>
            <a:endParaRPr/>
          </a:p>
        </p:txBody>
      </p:sp>
      <p:sp>
        <p:nvSpPr>
          <p:cNvPr id="93" name="Google Shape;93;p13"/>
          <p:cNvSpPr txBox="1">
            <a:spLocks noGrp="1"/>
          </p:cNvSpPr>
          <p:nvPr>
            <p:ph type="sldNum" idx="12"/>
          </p:nvPr>
        </p:nvSpPr>
        <p:spPr>
          <a:xfrm>
            <a:off x="6902450" y="6308725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fronto" type="twoTxTwoObj">
  <p:cSld name="TWO_OBJECTS_WITH_TEXT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4"/>
          <p:cNvSpPr txBox="1">
            <a:spLocks noGrp="1"/>
          </p:cNvSpPr>
          <p:nvPr>
            <p:ph type="title"/>
          </p:nvPr>
        </p:nvSpPr>
        <p:spPr>
          <a:xfrm>
            <a:off x="142844" y="857233"/>
            <a:ext cx="8858312" cy="571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14"/>
          <p:cNvSpPr txBox="1">
            <a:spLocks noGrp="1"/>
          </p:cNvSpPr>
          <p:nvPr>
            <p:ph type="body" idx="1"/>
          </p:nvPr>
        </p:nvSpPr>
        <p:spPr>
          <a:xfrm>
            <a:off x="457200" y="1571612"/>
            <a:ext cx="4040188" cy="639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L="457200" lvl="0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" name="Google Shape;97;p14"/>
          <p:cNvSpPr txBox="1">
            <a:spLocks noGrp="1"/>
          </p:cNvSpPr>
          <p:nvPr>
            <p:ph type="body" idx="2"/>
          </p:nvPr>
        </p:nvSpPr>
        <p:spPr>
          <a:xfrm>
            <a:off x="457200" y="2335232"/>
            <a:ext cx="4040188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1pPr>
            <a:lvl2pPr marL="914400" lvl="1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000"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3pPr>
            <a:lvl4pPr marL="1828800" lvl="3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1600"/>
            </a:lvl5pPr>
            <a:lvl6pPr marL="274320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6pPr>
            <a:lvl7pPr marL="3200400" lvl="6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8pPr>
            <a:lvl9pPr marL="4114800" lvl="8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endParaRPr/>
          </a:p>
        </p:txBody>
      </p:sp>
      <p:sp>
        <p:nvSpPr>
          <p:cNvPr id="98" name="Google Shape;98;p14"/>
          <p:cNvSpPr txBox="1">
            <a:spLocks noGrp="1"/>
          </p:cNvSpPr>
          <p:nvPr>
            <p:ph type="body" idx="3"/>
          </p:nvPr>
        </p:nvSpPr>
        <p:spPr>
          <a:xfrm>
            <a:off x="4645025" y="1571612"/>
            <a:ext cx="4041775" cy="639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L="457200" lvl="0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9" name="Google Shape;99;p14"/>
          <p:cNvSpPr txBox="1">
            <a:spLocks noGrp="1"/>
          </p:cNvSpPr>
          <p:nvPr>
            <p:ph type="body" idx="4"/>
          </p:nvPr>
        </p:nvSpPr>
        <p:spPr>
          <a:xfrm>
            <a:off x="4645025" y="2335232"/>
            <a:ext cx="4041775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1pPr>
            <a:lvl2pPr marL="914400" lvl="1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000"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3pPr>
            <a:lvl4pPr marL="1828800" lvl="3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1600"/>
            </a:lvl5pPr>
            <a:lvl6pPr marL="274320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6pPr>
            <a:lvl7pPr marL="3200400" lvl="6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8pPr>
            <a:lvl9pPr marL="4114800" lvl="8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endParaRPr/>
          </a:p>
        </p:txBody>
      </p:sp>
      <p:sp>
        <p:nvSpPr>
          <p:cNvPr id="100" name="Google Shape;100;p14"/>
          <p:cNvSpPr txBox="1">
            <a:spLocks noGrp="1"/>
          </p:cNvSpPr>
          <p:nvPr>
            <p:ph type="dt" idx="10"/>
          </p:nvPr>
        </p:nvSpPr>
        <p:spPr>
          <a:xfrm>
            <a:off x="214313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7A993459-B1FA-4588-8BE6-743AC01313DD}" type="datetime1">
              <a:rPr lang="en-GB" smtClean="0"/>
              <a:t>13/05/2019</a:t>
            </a:fld>
            <a:endParaRPr/>
          </a:p>
        </p:txBody>
      </p:sp>
      <p:sp>
        <p:nvSpPr>
          <p:cNvPr id="101" name="Google Shape;101;p14"/>
          <p:cNvSpPr txBox="1">
            <a:spLocks noGrp="1"/>
          </p:cNvSpPr>
          <p:nvPr>
            <p:ph type="ftr" idx="11"/>
          </p:nvPr>
        </p:nvSpPr>
        <p:spPr>
          <a:xfrm>
            <a:off x="314325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New Market Design - Impact Assessment</a:t>
            </a:r>
            <a:endParaRPr/>
          </a:p>
        </p:txBody>
      </p:sp>
      <p:sp>
        <p:nvSpPr>
          <p:cNvPr id="102" name="Google Shape;102;p14"/>
          <p:cNvSpPr txBox="1">
            <a:spLocks noGrp="1"/>
          </p:cNvSpPr>
          <p:nvPr>
            <p:ph type="sldNum" idx="12"/>
          </p:nvPr>
        </p:nvSpPr>
        <p:spPr>
          <a:xfrm>
            <a:off x="6902450" y="6308725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olo titolo" type="titleOnly">
  <p:cSld name="TITLE_ONLY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15"/>
          <p:cNvSpPr txBox="1">
            <a:spLocks noGrp="1"/>
          </p:cNvSpPr>
          <p:nvPr>
            <p:ph type="title"/>
          </p:nvPr>
        </p:nvSpPr>
        <p:spPr>
          <a:xfrm>
            <a:off x="142875" y="857250"/>
            <a:ext cx="8858250" cy="9286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15"/>
          <p:cNvSpPr txBox="1">
            <a:spLocks noGrp="1"/>
          </p:cNvSpPr>
          <p:nvPr>
            <p:ph type="dt" idx="10"/>
          </p:nvPr>
        </p:nvSpPr>
        <p:spPr>
          <a:xfrm>
            <a:off x="214313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BB1BA1FE-E700-4E4E-932A-CF969E2383CF}" type="datetime1">
              <a:rPr lang="en-GB" smtClean="0"/>
              <a:t>13/05/2019</a:t>
            </a:fld>
            <a:endParaRPr/>
          </a:p>
        </p:txBody>
      </p:sp>
      <p:sp>
        <p:nvSpPr>
          <p:cNvPr id="106" name="Google Shape;106;p15"/>
          <p:cNvSpPr txBox="1">
            <a:spLocks noGrp="1"/>
          </p:cNvSpPr>
          <p:nvPr>
            <p:ph type="ftr" idx="11"/>
          </p:nvPr>
        </p:nvSpPr>
        <p:spPr>
          <a:xfrm>
            <a:off x="314325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New Market Design - Impact Assessment</a:t>
            </a:r>
            <a:endParaRPr/>
          </a:p>
        </p:txBody>
      </p:sp>
      <p:sp>
        <p:nvSpPr>
          <p:cNvPr id="107" name="Google Shape;107;p15"/>
          <p:cNvSpPr txBox="1">
            <a:spLocks noGrp="1"/>
          </p:cNvSpPr>
          <p:nvPr>
            <p:ph type="sldNum" idx="12"/>
          </p:nvPr>
        </p:nvSpPr>
        <p:spPr>
          <a:xfrm>
            <a:off x="6902450" y="6308725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uto con didascalia" type="objTx">
  <p:cSld name="OBJECT_WITH_CAPTION_TEXT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6"/>
          <p:cNvSpPr txBox="1">
            <a:spLocks noGrp="1"/>
          </p:cNvSpPr>
          <p:nvPr>
            <p:ph type="title"/>
          </p:nvPr>
        </p:nvSpPr>
        <p:spPr>
          <a:xfrm>
            <a:off x="457200" y="909628"/>
            <a:ext cx="3008313" cy="1162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16"/>
          <p:cNvSpPr txBox="1">
            <a:spLocks noGrp="1"/>
          </p:cNvSpPr>
          <p:nvPr>
            <p:ph type="body" idx="1"/>
          </p:nvPr>
        </p:nvSpPr>
        <p:spPr>
          <a:xfrm>
            <a:off x="3575050" y="946151"/>
            <a:ext cx="5111750" cy="5268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Char char="–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»"/>
              <a:defRPr sz="2000"/>
            </a:lvl5pPr>
            <a:lvl6pPr marL="274320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11" name="Google Shape;111;p16"/>
          <p:cNvSpPr txBox="1">
            <a:spLocks noGrp="1"/>
          </p:cNvSpPr>
          <p:nvPr>
            <p:ph type="body" idx="2"/>
          </p:nvPr>
        </p:nvSpPr>
        <p:spPr>
          <a:xfrm>
            <a:off x="457200" y="2214554"/>
            <a:ext cx="3008313" cy="3911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5pPr>
            <a:lvl6pPr marL="2743200" lvl="5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12" name="Google Shape;112;p16"/>
          <p:cNvSpPr txBox="1">
            <a:spLocks noGrp="1"/>
          </p:cNvSpPr>
          <p:nvPr>
            <p:ph type="dt" idx="10"/>
          </p:nvPr>
        </p:nvSpPr>
        <p:spPr>
          <a:xfrm>
            <a:off x="214313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BC68305D-E622-421E-A716-72907E72C591}" type="datetime1">
              <a:rPr lang="en-GB" smtClean="0"/>
              <a:t>13/05/2019</a:t>
            </a:fld>
            <a:endParaRPr/>
          </a:p>
        </p:txBody>
      </p:sp>
      <p:sp>
        <p:nvSpPr>
          <p:cNvPr id="113" name="Google Shape;113;p16"/>
          <p:cNvSpPr txBox="1">
            <a:spLocks noGrp="1"/>
          </p:cNvSpPr>
          <p:nvPr>
            <p:ph type="ftr" idx="11"/>
          </p:nvPr>
        </p:nvSpPr>
        <p:spPr>
          <a:xfrm>
            <a:off x="314325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New Market Design - Impact Assessment</a:t>
            </a:r>
            <a:endParaRPr/>
          </a:p>
        </p:txBody>
      </p:sp>
      <p:sp>
        <p:nvSpPr>
          <p:cNvPr id="114" name="Google Shape;114;p16"/>
          <p:cNvSpPr txBox="1">
            <a:spLocks noGrp="1"/>
          </p:cNvSpPr>
          <p:nvPr>
            <p:ph type="sldNum" idx="12"/>
          </p:nvPr>
        </p:nvSpPr>
        <p:spPr>
          <a:xfrm>
            <a:off x="6902450" y="6308725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magine con didascalia" type="picTx">
  <p:cSld name="PICTURE_WITH_CAPTION_TEXT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17"/>
          <p:cNvSpPr txBox="1"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" name="Google Shape;117;p17"/>
          <p:cNvSpPr>
            <a:spLocks noGrp="1"/>
          </p:cNvSpPr>
          <p:nvPr>
            <p:ph type="pic" idx="2"/>
          </p:nvPr>
        </p:nvSpPr>
        <p:spPr>
          <a:xfrm>
            <a:off x="1792288" y="857231"/>
            <a:ext cx="5486400" cy="38703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8" name="Google Shape;118;p17"/>
          <p:cNvSpPr txBox="1">
            <a:spLocks noGrp="1"/>
          </p:cNvSpPr>
          <p:nvPr>
            <p:ph type="body" idx="1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5pPr>
            <a:lvl6pPr marL="2743200" lvl="5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19" name="Google Shape;119;p17"/>
          <p:cNvSpPr txBox="1">
            <a:spLocks noGrp="1"/>
          </p:cNvSpPr>
          <p:nvPr>
            <p:ph type="dt" idx="10"/>
          </p:nvPr>
        </p:nvSpPr>
        <p:spPr>
          <a:xfrm>
            <a:off x="214313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08E39318-E2E4-440E-ACB6-EAFA63769DD6}" type="datetime1">
              <a:rPr lang="en-GB" smtClean="0"/>
              <a:t>13/05/2019</a:t>
            </a:fld>
            <a:endParaRPr/>
          </a:p>
        </p:txBody>
      </p:sp>
      <p:sp>
        <p:nvSpPr>
          <p:cNvPr id="120" name="Google Shape;120;p17"/>
          <p:cNvSpPr txBox="1">
            <a:spLocks noGrp="1"/>
          </p:cNvSpPr>
          <p:nvPr>
            <p:ph type="ftr" idx="11"/>
          </p:nvPr>
        </p:nvSpPr>
        <p:spPr>
          <a:xfrm>
            <a:off x="314325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New Market Design - Impact Assessment</a:t>
            </a:r>
            <a:endParaRPr/>
          </a:p>
        </p:txBody>
      </p:sp>
      <p:sp>
        <p:nvSpPr>
          <p:cNvPr id="121" name="Google Shape;121;p17"/>
          <p:cNvSpPr txBox="1">
            <a:spLocks noGrp="1"/>
          </p:cNvSpPr>
          <p:nvPr>
            <p:ph type="sldNum" idx="12"/>
          </p:nvPr>
        </p:nvSpPr>
        <p:spPr>
          <a:xfrm>
            <a:off x="6902450" y="6308725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olo e testo verticale" type="vertTx">
  <p:cSld name="VERTICAL_TEXT"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8"/>
          <p:cNvSpPr txBox="1">
            <a:spLocks noGrp="1"/>
          </p:cNvSpPr>
          <p:nvPr>
            <p:ph type="title"/>
          </p:nvPr>
        </p:nvSpPr>
        <p:spPr>
          <a:xfrm>
            <a:off x="142875" y="857250"/>
            <a:ext cx="8858250" cy="9286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18"/>
          <p:cNvSpPr txBox="1">
            <a:spLocks noGrp="1"/>
          </p:cNvSpPr>
          <p:nvPr>
            <p:ph type="body" idx="1"/>
          </p:nvPr>
        </p:nvSpPr>
        <p:spPr>
          <a:xfrm rot="5400000">
            <a:off x="2428875" y="-285750"/>
            <a:ext cx="4357687" cy="8786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" name="Google Shape;125;p18"/>
          <p:cNvSpPr txBox="1">
            <a:spLocks noGrp="1"/>
          </p:cNvSpPr>
          <p:nvPr>
            <p:ph type="dt" idx="10"/>
          </p:nvPr>
        </p:nvSpPr>
        <p:spPr>
          <a:xfrm>
            <a:off x="214313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E68F8270-6F0F-403F-90F5-AD73DDFBDA84}" type="datetime1">
              <a:rPr lang="en-GB" smtClean="0"/>
              <a:t>13/05/2019</a:t>
            </a:fld>
            <a:endParaRPr/>
          </a:p>
        </p:txBody>
      </p:sp>
      <p:sp>
        <p:nvSpPr>
          <p:cNvPr id="126" name="Google Shape;126;p18"/>
          <p:cNvSpPr txBox="1">
            <a:spLocks noGrp="1"/>
          </p:cNvSpPr>
          <p:nvPr>
            <p:ph type="ftr" idx="11"/>
          </p:nvPr>
        </p:nvSpPr>
        <p:spPr>
          <a:xfrm>
            <a:off x="314325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New Market Design - Impact Assessment</a:t>
            </a:r>
            <a:endParaRPr/>
          </a:p>
        </p:txBody>
      </p:sp>
      <p:sp>
        <p:nvSpPr>
          <p:cNvPr id="127" name="Google Shape;127;p18"/>
          <p:cNvSpPr txBox="1">
            <a:spLocks noGrp="1"/>
          </p:cNvSpPr>
          <p:nvPr>
            <p:ph type="sldNum" idx="12"/>
          </p:nvPr>
        </p:nvSpPr>
        <p:spPr>
          <a:xfrm>
            <a:off x="6902450" y="6308725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olo e testo verticale" type="vertTitleAndTx">
  <p:cSld name="VERTICAL_TITLE_AND_VERTICAL_TEXT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19"/>
          <p:cNvSpPr txBox="1">
            <a:spLocks noGrp="1"/>
          </p:cNvSpPr>
          <p:nvPr>
            <p:ph type="title"/>
          </p:nvPr>
        </p:nvSpPr>
        <p:spPr>
          <a:xfrm rot="5400000">
            <a:off x="5130791" y="2570155"/>
            <a:ext cx="5054617" cy="20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" name="Google Shape;130;p19"/>
          <p:cNvSpPr txBox="1">
            <a:spLocks noGrp="1"/>
          </p:cNvSpPr>
          <p:nvPr>
            <p:ph type="body" idx="1"/>
          </p:nvPr>
        </p:nvSpPr>
        <p:spPr>
          <a:xfrm rot="5400000">
            <a:off x="939792" y="588955"/>
            <a:ext cx="5054617" cy="601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p19"/>
          <p:cNvSpPr txBox="1">
            <a:spLocks noGrp="1"/>
          </p:cNvSpPr>
          <p:nvPr>
            <p:ph type="dt" idx="10"/>
          </p:nvPr>
        </p:nvSpPr>
        <p:spPr>
          <a:xfrm>
            <a:off x="214313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ECDAD92A-0C6C-44F6-948F-B35A54B0CF92}" type="datetime1">
              <a:rPr lang="en-GB" smtClean="0"/>
              <a:t>13/05/2019</a:t>
            </a:fld>
            <a:endParaRPr/>
          </a:p>
        </p:txBody>
      </p:sp>
      <p:sp>
        <p:nvSpPr>
          <p:cNvPr id="132" name="Google Shape;132;p19"/>
          <p:cNvSpPr txBox="1">
            <a:spLocks noGrp="1"/>
          </p:cNvSpPr>
          <p:nvPr>
            <p:ph type="ftr" idx="11"/>
          </p:nvPr>
        </p:nvSpPr>
        <p:spPr>
          <a:xfrm>
            <a:off x="314325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New Market Design - Impact Assessment</a:t>
            </a:r>
            <a:endParaRPr/>
          </a:p>
        </p:txBody>
      </p:sp>
      <p:sp>
        <p:nvSpPr>
          <p:cNvPr id="133" name="Google Shape;133;p19"/>
          <p:cNvSpPr txBox="1">
            <a:spLocks noGrp="1"/>
          </p:cNvSpPr>
          <p:nvPr>
            <p:ph type="sldNum" idx="12"/>
          </p:nvPr>
        </p:nvSpPr>
        <p:spPr>
          <a:xfrm>
            <a:off x="6902450" y="6308725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/>
          <p:nvPr/>
        </p:nvSpPr>
        <p:spPr>
          <a:xfrm>
            <a:off x="0" y="0"/>
            <a:ext cx="9144000" cy="714356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5400000" algn="t" rotWithShape="0">
              <a:srgbClr val="000000">
                <a:alpha val="35294"/>
              </a:srgbClr>
            </a:outerShdw>
            <a:reflection stA="52000" endA="300" endPos="35000" sy="-100000" algn="bl" rotWithShape="0"/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11;p1"/>
          <p:cNvSpPr txBox="1">
            <a:spLocks noGrp="1"/>
          </p:cNvSpPr>
          <p:nvPr>
            <p:ph type="title"/>
          </p:nvPr>
        </p:nvSpPr>
        <p:spPr>
          <a:xfrm>
            <a:off x="142875" y="857250"/>
            <a:ext cx="8858250" cy="9286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body" idx="1"/>
          </p:nvPr>
        </p:nvSpPr>
        <p:spPr>
          <a:xfrm>
            <a:off x="214313" y="1928813"/>
            <a:ext cx="8786812" cy="4357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dt" idx="10"/>
          </p:nvPr>
        </p:nvSpPr>
        <p:spPr>
          <a:xfrm>
            <a:off x="214313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FD894141-286C-4C21-A749-A081630C8C52}" type="datetime1">
              <a:rPr lang="en-GB" smtClean="0"/>
              <a:t>13/05/2019</a:t>
            </a:fld>
            <a:endParaRPr/>
          </a:p>
        </p:txBody>
      </p:sp>
      <p:sp>
        <p:nvSpPr>
          <p:cNvPr id="14" name="Google Shape;14;p1"/>
          <p:cNvSpPr txBox="1">
            <a:spLocks noGrp="1"/>
          </p:cNvSpPr>
          <p:nvPr>
            <p:ph type="ftr" idx="11"/>
          </p:nvPr>
        </p:nvSpPr>
        <p:spPr>
          <a:xfrm>
            <a:off x="314325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New Market Design - Impact Assessment</a:t>
            </a:r>
            <a:endParaRPr/>
          </a:p>
        </p:txBody>
      </p:sp>
      <p:sp>
        <p:nvSpPr>
          <p:cNvPr id="15" name="Google Shape;15;p1"/>
          <p:cNvSpPr txBox="1">
            <a:spLocks noGrp="1"/>
          </p:cNvSpPr>
          <p:nvPr>
            <p:ph type="sldNum" idx="12"/>
          </p:nvPr>
        </p:nvSpPr>
        <p:spPr>
          <a:xfrm>
            <a:off x="6902450" y="6308725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›</a:t>
            </a:fld>
            <a:endParaRPr/>
          </a:p>
        </p:txBody>
      </p:sp>
      <p:pic>
        <p:nvPicPr>
          <p:cNvPr id="16" name="Google Shape;16;p1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174195" y="76409"/>
            <a:ext cx="1800000" cy="561538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tangolo 7"/>
          <p:cNvSpPr/>
          <p:nvPr/>
        </p:nvSpPr>
        <p:spPr>
          <a:xfrm>
            <a:off x="0" y="0"/>
            <a:ext cx="9144000" cy="714356"/>
          </a:xfrm>
          <a:prstGeom prst="rect">
            <a:avLst/>
          </a:prstGeom>
          <a:ln w="9525"/>
          <a:effectLst>
            <a:outerShdw blurRad="50800" dist="38100" dir="5400000" algn="t" rotWithShape="0">
              <a:prstClr val="black">
                <a:alpha val="36000"/>
              </a:prstClr>
            </a:outerShdw>
            <a:reflection blurRad="6350" stA="52000" endA="300" endPos="35000" dir="5400000" sy="-100000" algn="bl" rotWithShape="0"/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>
              <a:solidFill>
                <a:prstClr val="black"/>
              </a:solidFill>
            </a:endParaRPr>
          </a:p>
        </p:txBody>
      </p:sp>
      <p:sp>
        <p:nvSpPr>
          <p:cNvPr id="1027" name="Segnaposto titolo 1"/>
          <p:cNvSpPr>
            <a:spLocks noGrp="1"/>
          </p:cNvSpPr>
          <p:nvPr>
            <p:ph type="title"/>
          </p:nvPr>
        </p:nvSpPr>
        <p:spPr bwMode="auto">
          <a:xfrm>
            <a:off x="142875" y="857250"/>
            <a:ext cx="8858250" cy="92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lo stile del</a:t>
            </a:r>
          </a:p>
        </p:txBody>
      </p:sp>
      <p:sp>
        <p:nvSpPr>
          <p:cNvPr id="1028" name="Segnaposto testo 2"/>
          <p:cNvSpPr>
            <a:spLocks noGrp="1"/>
          </p:cNvSpPr>
          <p:nvPr>
            <p:ph type="body" idx="1"/>
          </p:nvPr>
        </p:nvSpPr>
        <p:spPr bwMode="auto">
          <a:xfrm>
            <a:off x="214313" y="1928813"/>
            <a:ext cx="8786812" cy="4357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214313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328B290-B5C3-4661-9FDB-90357B8511F1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13/05/2019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4325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/>
              <a:t>New Market Design - Impact Assessment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902450" y="63087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8D7BA87-7D50-4403-91D8-0632A03E9BBA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195" y="76409"/>
            <a:ext cx="1800000" cy="561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540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5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microsoft.com/office/2007/relationships/hdphoto" Target="../media/hdphoto1.wdp"/><Relationship Id="rId4" Type="http://schemas.openxmlformats.org/officeDocument/2006/relationships/image" Target="../media/image7.png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1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13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39"/>
          <p:cNvSpPr txBox="1">
            <a:spLocks noGrp="1"/>
          </p:cNvSpPr>
          <p:nvPr>
            <p:ph type="title"/>
          </p:nvPr>
        </p:nvSpPr>
        <p:spPr>
          <a:xfrm>
            <a:off x="275770" y="928468"/>
            <a:ext cx="8592458" cy="2613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>
              <a:spcAft>
                <a:spcPts val="600"/>
              </a:spcAft>
            </a:pPr>
            <a:r>
              <a:rPr lang="en-US" sz="2400" dirty="0">
                <a:solidFill>
                  <a:srgbClr val="002060"/>
                </a:solidFill>
              </a:rPr>
              <a:t/>
            </a:r>
            <a:br>
              <a:rPr lang="en-US" sz="2400" dirty="0">
                <a:solidFill>
                  <a:srgbClr val="002060"/>
                </a:solidFill>
              </a:rPr>
            </a:br>
            <a:r>
              <a:rPr lang="it-IT" sz="1800" dirty="0">
                <a:solidFill>
                  <a:srgbClr val="002060"/>
                </a:solidFill>
              </a:rPr>
              <a:t>Meeting Categorie Confindustria</a:t>
            </a:r>
            <a:r>
              <a:rPr lang="it-IT" sz="1100" dirty="0">
                <a:solidFill>
                  <a:srgbClr val="002060"/>
                </a:solidFill>
              </a:rPr>
              <a:t/>
            </a:r>
            <a:br>
              <a:rPr lang="it-IT" sz="1100" dirty="0">
                <a:solidFill>
                  <a:srgbClr val="002060"/>
                </a:solidFill>
              </a:rPr>
            </a:br>
            <a:r>
              <a:rPr lang="it-IT" sz="1800" dirty="0">
                <a:solidFill>
                  <a:srgbClr val="002060"/>
                </a:solidFill>
              </a:rPr>
              <a:t/>
            </a:r>
            <a:br>
              <a:rPr lang="it-IT" sz="1800" dirty="0">
                <a:solidFill>
                  <a:srgbClr val="002060"/>
                </a:solidFill>
              </a:rPr>
            </a:br>
            <a:r>
              <a:rPr lang="it-IT" sz="2200" dirty="0">
                <a:solidFill>
                  <a:srgbClr val="002060"/>
                </a:solidFill>
              </a:rPr>
              <a:t>LA FILIERA ELETTRICA ITALIANA:                                         INTEGRAZIONE DI SUCCESSO</a:t>
            </a:r>
            <a:br>
              <a:rPr lang="it-IT" sz="2200" dirty="0">
                <a:solidFill>
                  <a:srgbClr val="002060"/>
                </a:solidFill>
              </a:rPr>
            </a:br>
            <a:r>
              <a:rPr lang="it-IT" sz="2200" dirty="0">
                <a:solidFill>
                  <a:srgbClr val="002060"/>
                </a:solidFill>
              </a:rPr>
              <a:t>L'impatto sul marketing associativo</a:t>
            </a:r>
            <a:br>
              <a:rPr lang="it-IT" sz="2200" dirty="0">
                <a:solidFill>
                  <a:srgbClr val="002060"/>
                </a:solidFill>
              </a:rPr>
            </a:br>
            <a:r>
              <a:rPr lang="it-IT" sz="2000" b="1" dirty="0">
                <a:solidFill>
                  <a:srgbClr val="002060"/>
                </a:solidFill>
              </a:rPr>
              <a:t/>
            </a:r>
            <a:br>
              <a:rPr lang="it-IT" sz="2000" b="1" dirty="0">
                <a:solidFill>
                  <a:srgbClr val="002060"/>
                </a:solidFill>
              </a:rPr>
            </a:br>
            <a:r>
              <a:rPr lang="it-IT" sz="2000" b="1" dirty="0">
                <a:solidFill>
                  <a:srgbClr val="002060"/>
                </a:solidFill>
              </a:rPr>
              <a:t>Roberta Valenziani</a:t>
            </a:r>
            <a:r>
              <a:rPr lang="it-IT" sz="1400" dirty="0">
                <a:solidFill>
                  <a:srgbClr val="002060"/>
                </a:solidFill>
              </a:rPr>
              <a:t/>
            </a:r>
            <a:br>
              <a:rPr lang="it-IT" sz="1400" dirty="0">
                <a:solidFill>
                  <a:srgbClr val="002060"/>
                </a:solidFill>
              </a:rPr>
            </a:br>
            <a:r>
              <a:rPr lang="it-IT" sz="1400" dirty="0">
                <a:solidFill>
                  <a:srgbClr val="002060"/>
                </a:solidFill>
              </a:rPr>
              <a:t>Responsabile Affari e Servizi Associativi</a:t>
            </a:r>
            <a:r>
              <a:rPr lang="it-IT" sz="1600" dirty="0">
                <a:solidFill>
                  <a:srgbClr val="002060"/>
                </a:solidFill>
              </a:rPr>
              <a:t/>
            </a:r>
            <a:br>
              <a:rPr lang="it-IT" sz="1600" dirty="0">
                <a:solidFill>
                  <a:srgbClr val="002060"/>
                </a:solidFill>
              </a:rPr>
            </a:br>
            <a:r>
              <a:rPr lang="it-IT" sz="1600" dirty="0">
                <a:solidFill>
                  <a:srgbClr val="002060"/>
                </a:solidFill>
              </a:rPr>
              <a:t>Milano, </a:t>
            </a:r>
            <a:r>
              <a:rPr lang="it-IT" sz="1400" dirty="0">
                <a:solidFill>
                  <a:srgbClr val="002060"/>
                </a:solidFill>
              </a:rPr>
              <a:t>15 maggio 2019</a:t>
            </a:r>
            <a:r>
              <a:rPr lang="en-US" sz="2000" dirty="0">
                <a:latin typeface="Arial"/>
                <a:ea typeface="Arial"/>
                <a:cs typeface="Arial"/>
                <a:sym typeface="Arial"/>
              </a:rPr>
              <a:t/>
            </a:r>
            <a:br>
              <a:rPr lang="en-US" sz="2000" dirty="0">
                <a:latin typeface="Arial"/>
                <a:ea typeface="Arial"/>
                <a:cs typeface="Arial"/>
                <a:sym typeface="Arial"/>
              </a:rPr>
            </a:br>
            <a:endParaRPr sz="1600" dirty="0">
              <a:solidFill>
                <a:srgbClr val="17375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44FD3EA5-4508-4E92-B2DC-72D72B2B86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1171" y="3785818"/>
            <a:ext cx="5461657" cy="3072182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15">
            <a:extLst>
              <a:ext uri="{FF2B5EF4-FFF2-40B4-BE49-F238E27FC236}">
                <a16:creationId xmlns:a16="http://schemas.microsoft.com/office/drawing/2014/main" id="{D465D1AC-4D29-4190-90FA-B664FE0B3F6B}"/>
              </a:ext>
            </a:extLst>
          </p:cNvPr>
          <p:cNvSpPr txBox="1">
            <a:spLocks/>
          </p:cNvSpPr>
          <p:nvPr/>
        </p:nvSpPr>
        <p:spPr>
          <a:xfrm>
            <a:off x="1915886" y="204040"/>
            <a:ext cx="6764256" cy="32124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13335" rIns="0" bIns="0" rtlCol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algn="r"/>
            <a:r>
              <a:rPr lang="it-IT" sz="2000" dirty="0">
                <a:solidFill>
                  <a:srgbClr val="002060"/>
                </a:solidFill>
              </a:rPr>
              <a:t>Nascita Elettricità Futura</a:t>
            </a: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21DC8316-A16D-418D-9BD7-4E3E87767418}"/>
              </a:ext>
            </a:extLst>
          </p:cNvPr>
          <p:cNvGrpSpPr/>
          <p:nvPr/>
        </p:nvGrpSpPr>
        <p:grpSpPr>
          <a:xfrm>
            <a:off x="350903" y="1694821"/>
            <a:ext cx="4221097" cy="1931298"/>
            <a:chOff x="350903" y="1011787"/>
            <a:chExt cx="4221097" cy="1931298"/>
          </a:xfrm>
        </p:grpSpPr>
        <p:pic>
          <p:nvPicPr>
            <p:cNvPr id="8" name="Immagine 7">
              <a:extLst>
                <a:ext uri="{FF2B5EF4-FFF2-40B4-BE49-F238E27FC236}">
                  <a16:creationId xmlns:a16="http://schemas.microsoft.com/office/drawing/2014/main" id="{02E6C280-83C5-4D48-8A91-DFA25EDE909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50903" y="1622362"/>
              <a:ext cx="683122" cy="683122"/>
            </a:xfrm>
            <a:prstGeom prst="rect">
              <a:avLst/>
            </a:prstGeom>
          </p:spPr>
        </p:pic>
        <p:sp>
          <p:nvSpPr>
            <p:cNvPr id="2" name="CasellaDiTesto 1">
              <a:extLst>
                <a:ext uri="{FF2B5EF4-FFF2-40B4-BE49-F238E27FC236}">
                  <a16:creationId xmlns:a16="http://schemas.microsoft.com/office/drawing/2014/main" id="{4911DA9C-F2B4-4752-BB17-39A57908FFE9}"/>
                </a:ext>
              </a:extLst>
            </p:cNvPr>
            <p:cNvSpPr txBox="1"/>
            <p:nvPr/>
          </p:nvSpPr>
          <p:spPr>
            <a:xfrm>
              <a:off x="1049727" y="1011787"/>
              <a:ext cx="3522273" cy="19312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00"/>
                </a:spcBef>
                <a:buClr>
                  <a:srgbClr val="002060"/>
                </a:buClr>
              </a:pPr>
              <a:r>
                <a:rPr lang="it-IT" kern="1200" dirty="0">
                  <a:solidFill>
                    <a:srgbClr val="17375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asce nel 2013 (dalla fusione di APER e </a:t>
              </a:r>
              <a:r>
                <a:rPr lang="it-IT" kern="1200" dirty="0" err="1">
                  <a:solidFill>
                    <a:srgbClr val="17375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ssosolare</a:t>
              </a:r>
              <a:r>
                <a:rPr lang="it-IT" kern="1200" dirty="0">
                  <a:solidFill>
                    <a:srgbClr val="17375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)</a:t>
              </a:r>
            </a:p>
            <a:p>
              <a:pPr>
                <a:spcBef>
                  <a:spcPts val="300"/>
                </a:spcBef>
                <a:buClr>
                  <a:srgbClr val="002060"/>
                </a:buClr>
              </a:pPr>
              <a:r>
                <a:rPr lang="it-IT" kern="1200" dirty="0">
                  <a:solidFill>
                    <a:srgbClr val="17375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ssocia circa 700 produttori di energia da FER (di cui alcune grandi aziende) e i fornitori di servizi e tecnologie della filiera rinnovabile</a:t>
              </a:r>
            </a:p>
            <a:p>
              <a:pPr>
                <a:spcBef>
                  <a:spcPts val="300"/>
                </a:spcBef>
                <a:buClr>
                  <a:srgbClr val="002060"/>
                </a:buClr>
              </a:pPr>
              <a:r>
                <a:rPr lang="it-IT" kern="1200" dirty="0">
                  <a:solidFill>
                    <a:srgbClr val="17375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de Milano</a:t>
              </a:r>
            </a:p>
            <a:p>
              <a:pPr>
                <a:spcBef>
                  <a:spcPts val="300"/>
                </a:spcBef>
                <a:buClr>
                  <a:srgbClr val="002060"/>
                </a:buClr>
              </a:pPr>
              <a:r>
                <a:rPr lang="it-IT" kern="1200" dirty="0">
                  <a:solidFill>
                    <a:srgbClr val="17375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esidente Agostino Re Rebaudengo.</a:t>
              </a:r>
            </a:p>
          </p:txBody>
        </p:sp>
      </p:grpSp>
      <p:grpSp>
        <p:nvGrpSpPr>
          <p:cNvPr id="7" name="Gruppo 6">
            <a:extLst>
              <a:ext uri="{FF2B5EF4-FFF2-40B4-BE49-F238E27FC236}">
                <a16:creationId xmlns:a16="http://schemas.microsoft.com/office/drawing/2014/main" id="{015460F8-D882-4C5A-8B68-F7BD4C5ACD67}"/>
              </a:ext>
            </a:extLst>
          </p:cNvPr>
          <p:cNvGrpSpPr/>
          <p:nvPr/>
        </p:nvGrpSpPr>
        <p:grpSpPr>
          <a:xfrm>
            <a:off x="4969164" y="1694821"/>
            <a:ext cx="3823933" cy="1715854"/>
            <a:chOff x="4969164" y="1011787"/>
            <a:chExt cx="3823933" cy="1715854"/>
          </a:xfrm>
        </p:grpSpPr>
        <p:pic>
          <p:nvPicPr>
            <p:cNvPr id="9" name="Immagine 8">
              <a:extLst>
                <a:ext uri="{FF2B5EF4-FFF2-40B4-BE49-F238E27FC236}">
                  <a16:creationId xmlns:a16="http://schemas.microsoft.com/office/drawing/2014/main" id="{0E866A5E-5856-46C3-BB8E-DDC90FF5EE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16200000">
              <a:off x="4436816" y="1565547"/>
              <a:ext cx="1502949" cy="438254"/>
            </a:xfrm>
            <a:prstGeom prst="rect">
              <a:avLst/>
            </a:prstGeom>
          </p:spPr>
        </p:pic>
        <p:sp>
          <p:nvSpPr>
            <p:cNvPr id="11" name="CasellaDiTesto 10">
              <a:extLst>
                <a:ext uri="{FF2B5EF4-FFF2-40B4-BE49-F238E27FC236}">
                  <a16:creationId xmlns:a16="http://schemas.microsoft.com/office/drawing/2014/main" id="{B12EDFB8-B86B-4179-8AEB-E9949B51FB2E}"/>
                </a:ext>
              </a:extLst>
            </p:cNvPr>
            <p:cNvSpPr txBox="1"/>
            <p:nvPr/>
          </p:nvSpPr>
          <p:spPr>
            <a:xfrm>
              <a:off x="5407418" y="1011787"/>
              <a:ext cx="3385679" cy="17158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00"/>
                </a:spcBef>
                <a:buClr>
                  <a:srgbClr val="002060"/>
                </a:buClr>
              </a:pPr>
              <a:r>
                <a:rPr lang="it-IT" kern="1200" dirty="0">
                  <a:solidFill>
                    <a:srgbClr val="17375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asce il 25/09/2002 (già </a:t>
              </a:r>
              <a:r>
                <a:rPr lang="it-IT" kern="1200" dirty="0" err="1">
                  <a:solidFill>
                    <a:srgbClr val="17375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napace</a:t>
              </a:r>
              <a:r>
                <a:rPr lang="it-IT" kern="1200" dirty="0">
                  <a:solidFill>
                    <a:srgbClr val="17375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, fondata nel 1946)</a:t>
              </a:r>
            </a:p>
            <a:p>
              <a:pPr>
                <a:spcBef>
                  <a:spcPts val="300"/>
                </a:spcBef>
                <a:buClr>
                  <a:srgbClr val="002060"/>
                </a:buClr>
              </a:pPr>
              <a:r>
                <a:rPr lang="it-IT" kern="1200" dirty="0">
                  <a:solidFill>
                    <a:srgbClr val="17375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</a:t>
              </a:r>
              <a:r>
                <a:rPr lang="it-IT" kern="1200" dirty="0">
                  <a:solidFill>
                    <a:srgbClr val="1737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socia circa 70 imprese,</a:t>
              </a:r>
              <a:r>
                <a:rPr lang="it-IT" kern="1200" dirty="0">
                  <a:solidFill>
                    <a:srgbClr val="17375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grandi operatori termoelettrici e da FER, traders e società di distribuzione</a:t>
              </a:r>
            </a:p>
            <a:p>
              <a:pPr>
                <a:spcBef>
                  <a:spcPts val="300"/>
                </a:spcBef>
                <a:buClr>
                  <a:srgbClr val="002060"/>
                </a:buClr>
              </a:pPr>
              <a:r>
                <a:rPr lang="it-IT" kern="1200" dirty="0">
                  <a:solidFill>
                    <a:srgbClr val="17375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de Roma</a:t>
              </a:r>
            </a:p>
            <a:p>
              <a:pPr>
                <a:spcBef>
                  <a:spcPts val="300"/>
                </a:spcBef>
                <a:buClr>
                  <a:srgbClr val="002060"/>
                </a:buClr>
              </a:pPr>
              <a:r>
                <a:rPr lang="it-IT" kern="1200" dirty="0">
                  <a:solidFill>
                    <a:srgbClr val="17375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esidente Simone Mori.</a:t>
              </a:r>
            </a:p>
          </p:txBody>
        </p:sp>
      </p:grpSp>
      <p:sp>
        <p:nvSpPr>
          <p:cNvPr id="14" name="Rettangolo 13">
            <a:extLst>
              <a:ext uri="{FF2B5EF4-FFF2-40B4-BE49-F238E27FC236}">
                <a16:creationId xmlns:a16="http://schemas.microsoft.com/office/drawing/2014/main" id="{AAEB1D7A-E37A-4A64-89DD-A0CCE6B42940}"/>
              </a:ext>
            </a:extLst>
          </p:cNvPr>
          <p:cNvSpPr/>
          <p:nvPr/>
        </p:nvSpPr>
        <p:spPr>
          <a:xfrm>
            <a:off x="1049727" y="1328565"/>
            <a:ext cx="17572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600" b="1" dirty="0" err="1">
                <a:solidFill>
                  <a:srgbClr val="17375E"/>
                </a:solidFill>
              </a:rPr>
              <a:t>assoRinnovabili</a:t>
            </a:r>
            <a:endParaRPr lang="it-IT" sz="1600" dirty="0">
              <a:solidFill>
                <a:srgbClr val="17375E"/>
              </a:solidFill>
            </a:endParaRP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91ED5839-38CB-47AF-9AE4-B9BA827654F1}"/>
              </a:ext>
            </a:extLst>
          </p:cNvPr>
          <p:cNvSpPr/>
          <p:nvPr/>
        </p:nvSpPr>
        <p:spPr>
          <a:xfrm>
            <a:off x="5404880" y="1323595"/>
            <a:ext cx="1473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600" b="1" dirty="0" err="1">
                <a:solidFill>
                  <a:srgbClr val="17375E"/>
                </a:solidFill>
              </a:rPr>
              <a:t>Assoelettrica</a:t>
            </a:r>
            <a:endParaRPr lang="it-IT" sz="1600" dirty="0">
              <a:solidFill>
                <a:srgbClr val="17375E"/>
              </a:solidFill>
            </a:endParaRPr>
          </a:p>
        </p:txBody>
      </p:sp>
      <p:sp>
        <p:nvSpPr>
          <p:cNvPr id="55" name="Rettangolo 54">
            <a:extLst>
              <a:ext uri="{FF2B5EF4-FFF2-40B4-BE49-F238E27FC236}">
                <a16:creationId xmlns:a16="http://schemas.microsoft.com/office/drawing/2014/main" id="{12B5CD67-A7F6-4B17-8444-77C3BB8452A4}"/>
              </a:ext>
            </a:extLst>
          </p:cNvPr>
          <p:cNvSpPr/>
          <p:nvPr/>
        </p:nvSpPr>
        <p:spPr>
          <a:xfrm>
            <a:off x="5580874" y="3696067"/>
            <a:ext cx="309926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000" b="1" dirty="0">
                <a:solidFill>
                  <a:srgbClr val="17375E"/>
                </a:solidFill>
              </a:rPr>
              <a:t>Oggi</a:t>
            </a:r>
            <a:endParaRPr lang="it-IT" sz="2000" dirty="0">
              <a:solidFill>
                <a:srgbClr val="17375E"/>
              </a:solidFill>
            </a:endParaRPr>
          </a:p>
        </p:txBody>
      </p:sp>
      <p:graphicFrame>
        <p:nvGraphicFramePr>
          <p:cNvPr id="10" name="Diagramma 9">
            <a:extLst>
              <a:ext uri="{FF2B5EF4-FFF2-40B4-BE49-F238E27FC236}">
                <a16:creationId xmlns:a16="http://schemas.microsoft.com/office/drawing/2014/main" id="{CF911BD5-1AE6-408D-957D-C16A3F69C5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7333991"/>
              </p:ext>
            </p:extLst>
          </p:nvPr>
        </p:nvGraphicFramePr>
        <p:xfrm>
          <a:off x="212436" y="4018215"/>
          <a:ext cx="8580661" cy="28397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6" name="Rettangolo 15">
            <a:extLst>
              <a:ext uri="{FF2B5EF4-FFF2-40B4-BE49-F238E27FC236}">
                <a16:creationId xmlns:a16="http://schemas.microsoft.com/office/drawing/2014/main" id="{12B5CD67-A7F6-4B17-8444-77C3BB8452A4}"/>
              </a:ext>
            </a:extLst>
          </p:cNvPr>
          <p:cNvSpPr/>
          <p:nvPr/>
        </p:nvSpPr>
        <p:spPr>
          <a:xfrm>
            <a:off x="350903" y="875590"/>
            <a:ext cx="115288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2000" b="1" dirty="0">
                <a:solidFill>
                  <a:srgbClr val="17375E"/>
                </a:solidFill>
              </a:rPr>
              <a:t>Prima…</a:t>
            </a:r>
            <a:endParaRPr lang="it-IT" sz="2000" dirty="0">
              <a:solidFill>
                <a:srgbClr val="17375E"/>
              </a:solidFill>
            </a:endParaRP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12B5CD67-A7F6-4B17-8444-77C3BB8452A4}"/>
              </a:ext>
            </a:extLst>
          </p:cNvPr>
          <p:cNvSpPr/>
          <p:nvPr/>
        </p:nvSpPr>
        <p:spPr>
          <a:xfrm>
            <a:off x="2455554" y="3696067"/>
            <a:ext cx="141096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2000" b="1" dirty="0">
                <a:solidFill>
                  <a:srgbClr val="17375E"/>
                </a:solidFill>
              </a:rPr>
              <a:t>…Durante</a:t>
            </a:r>
            <a:endParaRPr lang="it-IT" sz="2000" dirty="0">
              <a:solidFill>
                <a:srgbClr val="17375E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580874" y="4172103"/>
            <a:ext cx="331374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1300" dirty="0">
                <a:solidFill>
                  <a:srgbClr val="002060"/>
                </a:solidFill>
              </a:rPr>
              <a:t>Simone Mori Presidente </a:t>
            </a:r>
          </a:p>
          <a:p>
            <a:pPr lvl="0"/>
            <a:r>
              <a:rPr lang="it-IT" sz="1300" dirty="0">
                <a:solidFill>
                  <a:srgbClr val="002060"/>
                </a:solidFill>
              </a:rPr>
              <a:t>Agostino Re </a:t>
            </a:r>
            <a:r>
              <a:rPr lang="it-IT" sz="1300" dirty="0" err="1">
                <a:solidFill>
                  <a:srgbClr val="002060"/>
                </a:solidFill>
              </a:rPr>
              <a:t>Rebaudengo</a:t>
            </a:r>
            <a:r>
              <a:rPr lang="it-IT" sz="1300" dirty="0">
                <a:solidFill>
                  <a:srgbClr val="002060"/>
                </a:solidFill>
              </a:rPr>
              <a:t> Vice Presidente</a:t>
            </a:r>
            <a:endParaRPr lang="it-IT" sz="1300" dirty="0"/>
          </a:p>
        </p:txBody>
      </p:sp>
      <p:sp>
        <p:nvSpPr>
          <p:cNvPr id="12" name="Freccia a destra con strisce 11"/>
          <p:cNvSpPr/>
          <p:nvPr/>
        </p:nvSpPr>
        <p:spPr>
          <a:xfrm rot="1182249">
            <a:off x="6067494" y="3654306"/>
            <a:ext cx="591128" cy="317408"/>
          </a:xfrm>
          <a:prstGeom prst="stripedRightArrow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216492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15">
            <a:extLst>
              <a:ext uri="{FF2B5EF4-FFF2-40B4-BE49-F238E27FC236}">
                <a16:creationId xmlns:a16="http://schemas.microsoft.com/office/drawing/2014/main" id="{B339338A-B689-4320-B8ED-061BFEE25C4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915886" y="204040"/>
            <a:ext cx="6764256" cy="3212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it-IT" sz="2000" b="1" dirty="0">
                <a:solidFill>
                  <a:srgbClr val="002060"/>
                </a:solidFill>
              </a:rPr>
              <a:t>Chi siamo</a:t>
            </a:r>
            <a:endParaRPr sz="2000" b="1" dirty="0">
              <a:solidFill>
                <a:srgbClr val="002060"/>
              </a:solidFill>
            </a:endParaRP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66110998-D617-43D9-A515-7AE81967AD0E}"/>
              </a:ext>
            </a:extLst>
          </p:cNvPr>
          <p:cNvSpPr txBox="1"/>
          <p:nvPr/>
        </p:nvSpPr>
        <p:spPr>
          <a:xfrm>
            <a:off x="1312558" y="3880094"/>
            <a:ext cx="7371790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Aft>
                <a:spcPts val="600"/>
              </a:spcAft>
            </a:pPr>
            <a:r>
              <a:rPr lang="it-IT" sz="14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OCIATI: Produttori di energia elettrica da fonti rinnovabili e convenzionali, venditori, distributori e fornitori di servizi.</a:t>
            </a:r>
          </a:p>
          <a:p>
            <a:pPr algn="just">
              <a:spcAft>
                <a:spcPts val="300"/>
              </a:spcAft>
            </a:pPr>
            <a:endParaRPr lang="it-IT" sz="1400" dirty="0">
              <a:solidFill>
                <a:srgbClr val="1737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600"/>
              </a:spcAft>
            </a:pPr>
            <a:r>
              <a:rPr lang="it-IT" sz="14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ON: </a:t>
            </a:r>
            <a:r>
              <a:rPr lang="it-IT" sz="1400" b="1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ire a creare le basi per un mercato elettrico efficiente e pronto alle sfide della transizione energetica </a:t>
            </a:r>
            <a:r>
              <a:rPr lang="it-IT" sz="14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EF è l’unica </a:t>
            </a:r>
            <a:r>
              <a:rPr lang="it-IT" sz="14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ociazione nazionale rappresentativa dell’intera filiera elettrica.</a:t>
            </a:r>
          </a:p>
        </p:txBody>
      </p:sp>
      <p:sp>
        <p:nvSpPr>
          <p:cNvPr id="25" name="CasellaDiTesto 4">
            <a:extLst>
              <a:ext uri="{FF2B5EF4-FFF2-40B4-BE49-F238E27FC236}">
                <a16:creationId xmlns:a16="http://schemas.microsoft.com/office/drawing/2014/main" id="{087C5A94-2BAB-44B3-AE85-E29804E85B89}"/>
              </a:ext>
            </a:extLst>
          </p:cNvPr>
          <p:cNvSpPr txBox="1"/>
          <p:nvPr/>
        </p:nvSpPr>
        <p:spPr>
          <a:xfrm>
            <a:off x="339469" y="2003081"/>
            <a:ext cx="18737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1600" dirty="0">
                <a:solidFill>
                  <a:srgbClr val="17375E"/>
                </a:solidFill>
              </a:rPr>
              <a:t>600</a:t>
            </a:r>
            <a:endParaRPr lang="it-IT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ORI</a:t>
            </a:r>
            <a:endParaRPr lang="it-IT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CasellaDiTesto 5">
            <a:extLst>
              <a:ext uri="{FF2B5EF4-FFF2-40B4-BE49-F238E27FC236}">
                <a16:creationId xmlns:a16="http://schemas.microsoft.com/office/drawing/2014/main" id="{521ABD13-51A1-4AC0-BABC-C0C48DB13BFB}"/>
              </a:ext>
            </a:extLst>
          </p:cNvPr>
          <p:cNvSpPr txBox="1"/>
          <p:nvPr/>
        </p:nvSpPr>
        <p:spPr>
          <a:xfrm>
            <a:off x="2265920" y="1984350"/>
            <a:ext cx="18737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.000</a:t>
            </a:r>
          </a:p>
          <a:p>
            <a:pPr algn="ctr"/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ETTI</a:t>
            </a:r>
            <a:endParaRPr lang="it-IT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CasellaDiTesto 6">
            <a:extLst>
              <a:ext uri="{FF2B5EF4-FFF2-40B4-BE49-F238E27FC236}">
                <a16:creationId xmlns:a16="http://schemas.microsoft.com/office/drawing/2014/main" id="{8A69B380-83D6-415D-894F-23648A95E2AD}"/>
              </a:ext>
            </a:extLst>
          </p:cNvPr>
          <p:cNvSpPr txBox="1"/>
          <p:nvPr/>
        </p:nvSpPr>
        <p:spPr>
          <a:xfrm>
            <a:off x="4065180" y="1995955"/>
            <a:ext cx="29098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6.000 MW</a:t>
            </a:r>
          </a:p>
          <a:p>
            <a:pPr algn="ctr"/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TENZA INSTALLATA</a:t>
            </a:r>
            <a:endParaRPr lang="it-IT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CasellaDiTesto 7">
            <a:extLst>
              <a:ext uri="{FF2B5EF4-FFF2-40B4-BE49-F238E27FC236}">
                <a16:creationId xmlns:a16="http://schemas.microsoft.com/office/drawing/2014/main" id="{21161611-F045-420E-8E6D-425216640310}"/>
              </a:ext>
            </a:extLst>
          </p:cNvPr>
          <p:cNvSpPr txBox="1"/>
          <p:nvPr/>
        </p:nvSpPr>
        <p:spPr>
          <a:xfrm>
            <a:off x="6836287" y="1995955"/>
            <a:ext cx="19907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150.000 km</a:t>
            </a:r>
          </a:p>
          <a:p>
            <a:pPr algn="ctr"/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EE</a:t>
            </a:r>
            <a:endParaRPr lang="it-IT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D74DC365-1706-452A-B308-0EEBFB803A97}"/>
              </a:ext>
            </a:extLst>
          </p:cNvPr>
          <p:cNvSpPr txBox="1"/>
          <p:nvPr/>
        </p:nvSpPr>
        <p:spPr>
          <a:xfrm>
            <a:off x="1216479" y="1252817"/>
            <a:ext cx="75639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dirty="0">
                <a:solidFill>
                  <a:srgbClr val="17375E"/>
                </a:solidFill>
              </a:rPr>
              <a:t>70% dell’elettricità consumata in Italia </a:t>
            </a:r>
            <a:endParaRPr lang="it-IT" sz="1200" dirty="0">
              <a:solidFill>
                <a:srgbClr val="17375E"/>
              </a:solidFill>
            </a:endParaRPr>
          </a:p>
        </p:txBody>
      </p:sp>
      <p:grpSp>
        <p:nvGrpSpPr>
          <p:cNvPr id="4" name="Gruppo 3">
            <a:extLst>
              <a:ext uri="{FF2B5EF4-FFF2-40B4-BE49-F238E27FC236}">
                <a16:creationId xmlns:a16="http://schemas.microsoft.com/office/drawing/2014/main" id="{CF298830-C18F-4A46-8060-15D76E729E86}"/>
              </a:ext>
            </a:extLst>
          </p:cNvPr>
          <p:cNvGrpSpPr/>
          <p:nvPr/>
        </p:nvGrpSpPr>
        <p:grpSpPr>
          <a:xfrm>
            <a:off x="1680205" y="5511768"/>
            <a:ext cx="6192688" cy="999511"/>
            <a:chOff x="1099560" y="5149833"/>
            <a:chExt cx="6192688" cy="999511"/>
          </a:xfrm>
        </p:grpSpPr>
        <p:sp>
          <p:nvSpPr>
            <p:cNvPr id="21" name="Rectangle 8">
              <a:extLst>
                <a:ext uri="{FF2B5EF4-FFF2-40B4-BE49-F238E27FC236}">
                  <a16:creationId xmlns:a16="http://schemas.microsoft.com/office/drawing/2014/main" id="{831B9AB9-EC4D-475C-A887-7AE5A686860B}"/>
                </a:ext>
              </a:extLst>
            </p:cNvPr>
            <p:cNvSpPr/>
            <p:nvPr/>
          </p:nvSpPr>
          <p:spPr>
            <a:xfrm>
              <a:off x="1099560" y="5149833"/>
              <a:ext cx="619268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it-IT" sz="1600" b="1" dirty="0">
                  <a:solidFill>
                    <a:srgbClr val="1737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iezione internazionale</a:t>
              </a:r>
              <a:endParaRPr lang="it-IT" sz="16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3" name="Immagine 32">
              <a:extLst>
                <a:ext uri="{FF2B5EF4-FFF2-40B4-BE49-F238E27FC236}">
                  <a16:creationId xmlns:a16="http://schemas.microsoft.com/office/drawing/2014/main" id="{BFE11DD1-894E-4531-9BBF-31BD845B4D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4445" t="53600" r="34285" b="33543"/>
            <a:stretch/>
          </p:blipFill>
          <p:spPr>
            <a:xfrm>
              <a:off x="1567528" y="5488387"/>
              <a:ext cx="4688114" cy="660957"/>
            </a:xfrm>
            <a:prstGeom prst="rect">
              <a:avLst/>
            </a:prstGeom>
          </p:spPr>
        </p:pic>
      </p:grpSp>
      <p:pic>
        <p:nvPicPr>
          <p:cNvPr id="9" name="Immagine 8">
            <a:extLst>
              <a:ext uri="{FF2B5EF4-FFF2-40B4-BE49-F238E27FC236}">
                <a16:creationId xmlns:a16="http://schemas.microsoft.com/office/drawing/2014/main" id="{6730E3B4-D785-4E46-9123-8C3C1BCAEF1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28153" t="3486" r="52099" b="79099"/>
          <a:stretch/>
        </p:blipFill>
        <p:spPr>
          <a:xfrm>
            <a:off x="449139" y="1080468"/>
            <a:ext cx="767340" cy="676677"/>
          </a:xfrm>
          <a:prstGeom prst="rect">
            <a:avLst/>
          </a:prstGeom>
        </p:spPr>
      </p:pic>
      <p:pic>
        <p:nvPicPr>
          <p:cNvPr id="23" name="Immagine 22">
            <a:extLst>
              <a:ext uri="{FF2B5EF4-FFF2-40B4-BE49-F238E27FC236}">
                <a16:creationId xmlns:a16="http://schemas.microsoft.com/office/drawing/2014/main" id="{AC1DE15E-6232-4BFB-A838-3497A841270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77918" t="52521" b="27844"/>
          <a:stretch/>
        </p:blipFill>
        <p:spPr>
          <a:xfrm>
            <a:off x="2729810" y="2560239"/>
            <a:ext cx="1030645" cy="916434"/>
          </a:xfrm>
          <a:prstGeom prst="rect">
            <a:avLst/>
          </a:prstGeom>
        </p:spPr>
      </p:pic>
      <p:pic>
        <p:nvPicPr>
          <p:cNvPr id="24" name="Immagine 23">
            <a:extLst>
              <a:ext uri="{FF2B5EF4-FFF2-40B4-BE49-F238E27FC236}">
                <a16:creationId xmlns:a16="http://schemas.microsoft.com/office/drawing/2014/main" id="{CDCDC166-A112-4B1D-AAF8-0F5DEB2B97C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4140" t="29105" r="29183" b="53916"/>
          <a:stretch/>
        </p:blipFill>
        <p:spPr>
          <a:xfrm>
            <a:off x="5192441" y="2675947"/>
            <a:ext cx="778385" cy="792437"/>
          </a:xfrm>
          <a:prstGeom prst="rect">
            <a:avLst/>
          </a:prstGeom>
        </p:spPr>
      </p:pic>
      <p:pic>
        <p:nvPicPr>
          <p:cNvPr id="29" name="Immagine 28">
            <a:extLst>
              <a:ext uri="{FF2B5EF4-FFF2-40B4-BE49-F238E27FC236}">
                <a16:creationId xmlns:a16="http://schemas.microsoft.com/office/drawing/2014/main" id="{7D199651-F2F7-4FBA-8DB7-4EEBA6F8654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998" t="1785" r="81643" b="76622"/>
          <a:stretch/>
        </p:blipFill>
        <p:spPr>
          <a:xfrm>
            <a:off x="7610922" y="2553771"/>
            <a:ext cx="576850" cy="1007828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B86CB9DA-8366-4126-A25A-F8B368019B2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77638" t="76551" r="1485" b="486"/>
          <a:stretch/>
        </p:blipFill>
        <p:spPr>
          <a:xfrm>
            <a:off x="915699" y="2569125"/>
            <a:ext cx="974330" cy="1071707"/>
          </a:xfrm>
          <a:prstGeom prst="rect">
            <a:avLst/>
          </a:prstGeom>
        </p:spPr>
      </p:pic>
      <p:pic>
        <p:nvPicPr>
          <p:cNvPr id="30" name="Immagine 29">
            <a:extLst>
              <a:ext uri="{FF2B5EF4-FFF2-40B4-BE49-F238E27FC236}">
                <a16:creationId xmlns:a16="http://schemas.microsoft.com/office/drawing/2014/main" id="{043655ED-DC71-4B8E-80E9-76E58DCA2E6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6737" t="52422" r="78284" b="28856"/>
          <a:stretch/>
        </p:blipFill>
        <p:spPr>
          <a:xfrm>
            <a:off x="658991" y="3880094"/>
            <a:ext cx="557488" cy="696840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8651DF37-08D5-4361-91FD-DE23E34FF32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8991" y="4646845"/>
            <a:ext cx="667019" cy="667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4422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>
            <a:extLst>
              <a:ext uri="{FF2B5EF4-FFF2-40B4-BE49-F238E27FC236}">
                <a16:creationId xmlns:a16="http://schemas.microsoft.com/office/drawing/2014/main" id="{AF9AC9C7-C389-4A40-AFA3-932A5B10F03C}"/>
              </a:ext>
            </a:extLst>
          </p:cNvPr>
          <p:cNvSpPr txBox="1">
            <a:spLocks/>
          </p:cNvSpPr>
          <p:nvPr/>
        </p:nvSpPr>
        <p:spPr>
          <a:xfrm>
            <a:off x="2196534" y="-117147"/>
            <a:ext cx="6777184" cy="87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spcFirstLastPara="1"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algn="r"/>
            <a:r>
              <a:rPr lang="it-IT" sz="2000" dirty="0">
                <a:solidFill>
                  <a:srgbClr val="002060"/>
                </a:solidFill>
              </a:rPr>
              <a:t>POST FUSIONE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064B28FC-0B56-41B5-87CB-659A906A3E3A}"/>
              </a:ext>
            </a:extLst>
          </p:cNvPr>
          <p:cNvSpPr/>
          <p:nvPr/>
        </p:nvSpPr>
        <p:spPr>
          <a:xfrm>
            <a:off x="309888" y="1219581"/>
            <a:ext cx="3960131" cy="5336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n>
                <a:solidFill>
                  <a:schemeClr val="bg1"/>
                </a:solidFill>
              </a:ln>
            </a:endParaRPr>
          </a:p>
        </p:txBody>
      </p:sp>
      <p:grpSp>
        <p:nvGrpSpPr>
          <p:cNvPr id="37" name="Gruppo 36">
            <a:extLst>
              <a:ext uri="{FF2B5EF4-FFF2-40B4-BE49-F238E27FC236}">
                <a16:creationId xmlns:a16="http://schemas.microsoft.com/office/drawing/2014/main" id="{719FEFAF-0A3B-4601-BE42-CC469B1C8BCC}"/>
              </a:ext>
            </a:extLst>
          </p:cNvPr>
          <p:cNvGrpSpPr/>
          <p:nvPr/>
        </p:nvGrpSpPr>
        <p:grpSpPr>
          <a:xfrm>
            <a:off x="2974019" y="783731"/>
            <a:ext cx="6089849" cy="377416"/>
            <a:chOff x="239941" y="1658790"/>
            <a:chExt cx="6761927" cy="369332"/>
          </a:xfrm>
        </p:grpSpPr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CD010DE2-7E4B-4173-8001-EEA420982F7F}"/>
                </a:ext>
              </a:extLst>
            </p:cNvPr>
            <p:cNvSpPr/>
            <p:nvPr/>
          </p:nvSpPr>
          <p:spPr>
            <a:xfrm>
              <a:off x="239941" y="1658790"/>
              <a:ext cx="6761927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buClr>
                  <a:srgbClr val="002060"/>
                </a:buClr>
              </a:pPr>
              <a:r>
                <a:rPr lang="it-IT" sz="1800" b="1" dirty="0">
                  <a:solidFill>
                    <a:srgbClr val="1737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sociazione</a:t>
              </a:r>
              <a:r>
                <a:rPr lang="it-IT" sz="1600" b="1" dirty="0">
                  <a:solidFill>
                    <a:srgbClr val="1737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</a:t>
              </a:r>
              <a:r>
                <a:rPr lang="it-IT" sz="1600" dirty="0">
                  <a:solidFill>
                    <a:srgbClr val="1737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ppresentanza e Servizi agli Associati</a:t>
              </a:r>
            </a:p>
          </p:txBody>
        </p:sp>
        <p:cxnSp>
          <p:nvCxnSpPr>
            <p:cNvPr id="33" name="Connettore 2 32">
              <a:extLst>
                <a:ext uri="{FF2B5EF4-FFF2-40B4-BE49-F238E27FC236}">
                  <a16:creationId xmlns:a16="http://schemas.microsoft.com/office/drawing/2014/main" id="{90C56A96-EDD8-47E5-AB17-6DB80CA9989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97851" y="1843456"/>
              <a:ext cx="548226" cy="2601"/>
            </a:xfrm>
            <a:prstGeom prst="straightConnector1">
              <a:avLst/>
            </a:prstGeom>
            <a:ln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9" name="Diagramma 8">
            <a:extLst>
              <a:ext uri="{FF2B5EF4-FFF2-40B4-BE49-F238E27FC236}">
                <a16:creationId xmlns:a16="http://schemas.microsoft.com/office/drawing/2014/main" id="{6D594438-31AD-4D3D-A5B2-7BB9AA51F8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44908543"/>
              </p:ext>
            </p:extLst>
          </p:nvPr>
        </p:nvGraphicFramePr>
        <p:xfrm>
          <a:off x="178011" y="815549"/>
          <a:ext cx="2971432" cy="17994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3" name="Gruppo 12">
            <a:extLst>
              <a:ext uri="{FF2B5EF4-FFF2-40B4-BE49-F238E27FC236}">
                <a16:creationId xmlns:a16="http://schemas.microsoft.com/office/drawing/2014/main" id="{5B42471A-CB98-457E-B09E-D1552C9C8CA4}"/>
              </a:ext>
            </a:extLst>
          </p:cNvPr>
          <p:cNvGrpSpPr/>
          <p:nvPr/>
        </p:nvGrpSpPr>
        <p:grpSpPr>
          <a:xfrm>
            <a:off x="3149443" y="1485651"/>
            <a:ext cx="1486357" cy="427461"/>
            <a:chOff x="3050383" y="1257051"/>
            <a:chExt cx="1486357" cy="427461"/>
          </a:xfrm>
        </p:grpSpPr>
        <p:sp>
          <p:nvSpPr>
            <p:cNvPr id="23" name="Rettangolo 22">
              <a:extLst>
                <a:ext uri="{FF2B5EF4-FFF2-40B4-BE49-F238E27FC236}">
                  <a16:creationId xmlns:a16="http://schemas.microsoft.com/office/drawing/2014/main" id="{B8454B09-5BA0-4C30-948C-9A0B61827637}"/>
                </a:ext>
              </a:extLst>
            </p:cNvPr>
            <p:cNvSpPr/>
            <p:nvPr/>
          </p:nvSpPr>
          <p:spPr>
            <a:xfrm>
              <a:off x="3092016" y="1315180"/>
              <a:ext cx="144472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Clr>
                  <a:srgbClr val="002060"/>
                </a:buClr>
              </a:pPr>
              <a:r>
                <a:rPr lang="it-IT" sz="1800" b="1" dirty="0">
                  <a:solidFill>
                    <a:srgbClr val="1737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Risk:  </a:t>
              </a:r>
              <a:endParaRPr lang="it-IT" sz="16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1" name="Immagine 10">
              <a:extLst>
                <a:ext uri="{FF2B5EF4-FFF2-40B4-BE49-F238E27FC236}">
                  <a16:creationId xmlns:a16="http://schemas.microsoft.com/office/drawing/2014/main" id="{DEC2CC8A-6AA8-4D9D-94F2-A61F9126B5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1787" t="4780" r="10543" b="22738"/>
            <a:stretch/>
          </p:blipFill>
          <p:spPr>
            <a:xfrm>
              <a:off x="3050383" y="1257051"/>
              <a:ext cx="416152" cy="388354"/>
            </a:xfrm>
            <a:prstGeom prst="rect">
              <a:avLst/>
            </a:prstGeom>
          </p:spPr>
        </p:pic>
      </p:grp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4308C783-9554-4734-9741-731B169BA004}"/>
              </a:ext>
            </a:extLst>
          </p:cNvPr>
          <p:cNvSpPr txBox="1"/>
          <p:nvPr/>
        </p:nvSpPr>
        <p:spPr>
          <a:xfrm>
            <a:off x="4270019" y="1256340"/>
            <a:ext cx="4793849" cy="954107"/>
          </a:xfrm>
          <a:prstGeom prst="rect">
            <a:avLst/>
          </a:prstGeom>
          <a:noFill/>
          <a:ln w="31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ertura degli interessi non omogenea</a:t>
            </a:r>
          </a:p>
          <a:p>
            <a:pPr marL="285750" indent="-285750"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persione delle risorse e delle attività</a:t>
            </a:r>
          </a:p>
          <a:p>
            <a:pPr marL="285750" indent="-285750"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dita focus e scarso coordinamento delle funzioni</a:t>
            </a:r>
          </a:p>
          <a:p>
            <a:pPr marL="285750" indent="-285750"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on non </a:t>
            </a:r>
            <a:r>
              <a:rPr lang="it-IT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ivisa</a:t>
            </a:r>
            <a:endParaRPr lang="it-IT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5674BB93-4DEC-4BA6-9400-C3F601D012ED}"/>
              </a:ext>
            </a:extLst>
          </p:cNvPr>
          <p:cNvGrpSpPr/>
          <p:nvPr/>
        </p:nvGrpSpPr>
        <p:grpSpPr>
          <a:xfrm>
            <a:off x="172020" y="2948236"/>
            <a:ext cx="8872776" cy="3793264"/>
            <a:chOff x="143474" y="3022213"/>
            <a:chExt cx="8872776" cy="3793264"/>
          </a:xfrm>
        </p:grpSpPr>
        <p:grpSp>
          <p:nvGrpSpPr>
            <p:cNvPr id="12" name="Gruppo 11">
              <a:extLst>
                <a:ext uri="{FF2B5EF4-FFF2-40B4-BE49-F238E27FC236}">
                  <a16:creationId xmlns:a16="http://schemas.microsoft.com/office/drawing/2014/main" id="{C6479C33-F0BD-46BD-AFA2-A8DCE81B501E}"/>
                </a:ext>
              </a:extLst>
            </p:cNvPr>
            <p:cNvGrpSpPr/>
            <p:nvPr/>
          </p:nvGrpSpPr>
          <p:grpSpPr>
            <a:xfrm>
              <a:off x="143474" y="3022213"/>
              <a:ext cx="8872776" cy="510404"/>
              <a:chOff x="143474" y="3022213"/>
              <a:chExt cx="8872776" cy="510404"/>
            </a:xfrm>
          </p:grpSpPr>
          <p:sp>
            <p:nvSpPr>
              <p:cNvPr id="8" name="Rettangolo 7">
                <a:extLst>
                  <a:ext uri="{FF2B5EF4-FFF2-40B4-BE49-F238E27FC236}">
                    <a16:creationId xmlns:a16="http://schemas.microsoft.com/office/drawing/2014/main" id="{9F8ADC2C-8253-45F0-B928-1B6B00C74A58}"/>
                  </a:ext>
                </a:extLst>
              </p:cNvPr>
              <p:cNvSpPr/>
              <p:nvPr/>
            </p:nvSpPr>
            <p:spPr>
              <a:xfrm>
                <a:off x="143474" y="3022213"/>
                <a:ext cx="2158410" cy="508682"/>
              </a:xfrm>
              <a:prstGeom prst="rect">
                <a:avLst/>
              </a:prstGeom>
              <a:solidFill>
                <a:srgbClr val="00206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26" name="Rettangolo 25">
                <a:extLst>
                  <a:ext uri="{FF2B5EF4-FFF2-40B4-BE49-F238E27FC236}">
                    <a16:creationId xmlns:a16="http://schemas.microsoft.com/office/drawing/2014/main" id="{A0A978E6-113A-4E06-9C03-FC821DD81A52}"/>
                  </a:ext>
                </a:extLst>
              </p:cNvPr>
              <p:cNvSpPr/>
              <p:nvPr/>
            </p:nvSpPr>
            <p:spPr>
              <a:xfrm>
                <a:off x="2386782" y="3023935"/>
                <a:ext cx="2158410" cy="508682"/>
              </a:xfrm>
              <a:prstGeom prst="rect">
                <a:avLst/>
              </a:prstGeom>
              <a:solidFill>
                <a:srgbClr val="00206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  <p:sp>
            <p:nvSpPr>
              <p:cNvPr id="27" name="Rettangolo 26">
                <a:extLst>
                  <a:ext uri="{FF2B5EF4-FFF2-40B4-BE49-F238E27FC236}">
                    <a16:creationId xmlns:a16="http://schemas.microsoft.com/office/drawing/2014/main" id="{57D119BF-8FD5-4449-AACC-49E81D018494}"/>
                  </a:ext>
                </a:extLst>
              </p:cNvPr>
              <p:cNvSpPr/>
              <p:nvPr/>
            </p:nvSpPr>
            <p:spPr>
              <a:xfrm>
                <a:off x="4614532" y="3023155"/>
                <a:ext cx="2158410" cy="508682"/>
              </a:xfrm>
              <a:prstGeom prst="rect">
                <a:avLst/>
              </a:prstGeom>
              <a:solidFill>
                <a:srgbClr val="00206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28" name="Rettangolo 27">
                <a:extLst>
                  <a:ext uri="{FF2B5EF4-FFF2-40B4-BE49-F238E27FC236}">
                    <a16:creationId xmlns:a16="http://schemas.microsoft.com/office/drawing/2014/main" id="{546D590F-2DCD-4AB1-995F-6E61F4A52B39}"/>
                  </a:ext>
                </a:extLst>
              </p:cNvPr>
              <p:cNvSpPr/>
              <p:nvPr/>
            </p:nvSpPr>
            <p:spPr>
              <a:xfrm>
                <a:off x="6857840" y="3023155"/>
                <a:ext cx="2158410" cy="508682"/>
              </a:xfrm>
              <a:prstGeom prst="rect">
                <a:avLst/>
              </a:prstGeom>
              <a:solidFill>
                <a:srgbClr val="00206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  <p:sp>
          <p:nvSpPr>
            <p:cNvPr id="14" name="Rettangolo 13">
              <a:extLst>
                <a:ext uri="{FF2B5EF4-FFF2-40B4-BE49-F238E27FC236}">
                  <a16:creationId xmlns:a16="http://schemas.microsoft.com/office/drawing/2014/main" id="{8C9CD592-12DE-4204-9225-37A2D786C8AF}"/>
                </a:ext>
              </a:extLst>
            </p:cNvPr>
            <p:cNvSpPr/>
            <p:nvPr/>
          </p:nvSpPr>
          <p:spPr>
            <a:xfrm>
              <a:off x="143474" y="3477337"/>
              <a:ext cx="2158410" cy="3338140"/>
            </a:xfrm>
            <a:prstGeom prst="rect">
              <a:avLst/>
            </a:prstGeom>
            <a:solidFill>
              <a:srgbClr val="D5DCEA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rgbClr val="002060"/>
                </a:buClr>
              </a:pPr>
              <a:r>
                <a:rPr lang="it-IT" sz="1600" dirty="0">
                  <a:solidFill>
                    <a:srgbClr val="1737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pliamento Consiglio Generale (nuova categoria Generazione Distribuita ed efficienza energetica - FER &lt; 5MW); </a:t>
              </a:r>
            </a:p>
            <a:p>
              <a:pPr algn="ctr">
                <a:buClr>
                  <a:srgbClr val="002060"/>
                </a:buClr>
              </a:pPr>
              <a:endParaRPr lang="it-IT" sz="16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buClr>
                  <a:srgbClr val="002060"/>
                </a:buClr>
              </a:pPr>
              <a:r>
                <a:rPr lang="it-IT" sz="1600" dirty="0">
                  <a:solidFill>
                    <a:srgbClr val="1737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remento a quattro Vice Presidenti rappresentativi di categoria</a:t>
              </a:r>
            </a:p>
            <a:p>
              <a:pPr algn="ctr"/>
              <a:endParaRPr lang="it-IT" dirty="0"/>
            </a:p>
          </p:txBody>
        </p:sp>
        <p:sp>
          <p:nvSpPr>
            <p:cNvPr id="31" name="Rettangolo 30">
              <a:extLst>
                <a:ext uri="{FF2B5EF4-FFF2-40B4-BE49-F238E27FC236}">
                  <a16:creationId xmlns:a16="http://schemas.microsoft.com/office/drawing/2014/main" id="{4381E8C1-0103-436F-8920-F7EF91C666D3}"/>
                </a:ext>
              </a:extLst>
            </p:cNvPr>
            <p:cNvSpPr/>
            <p:nvPr/>
          </p:nvSpPr>
          <p:spPr>
            <a:xfrm>
              <a:off x="2379866" y="3480880"/>
              <a:ext cx="2158410" cy="3333528"/>
            </a:xfrm>
            <a:prstGeom prst="rect">
              <a:avLst/>
            </a:prstGeom>
            <a:solidFill>
              <a:srgbClr val="D5DCEA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32" name="Rettangolo 31">
              <a:extLst>
                <a:ext uri="{FF2B5EF4-FFF2-40B4-BE49-F238E27FC236}">
                  <a16:creationId xmlns:a16="http://schemas.microsoft.com/office/drawing/2014/main" id="{C4844CF7-6607-4C2A-9443-501541009DA6}"/>
                </a:ext>
              </a:extLst>
            </p:cNvPr>
            <p:cNvSpPr/>
            <p:nvPr/>
          </p:nvSpPr>
          <p:spPr>
            <a:xfrm>
              <a:off x="4614532" y="3477337"/>
              <a:ext cx="2158410" cy="3338140"/>
            </a:xfrm>
            <a:prstGeom prst="rect">
              <a:avLst/>
            </a:prstGeom>
            <a:solidFill>
              <a:srgbClr val="D5DCEA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4" name="Rettangolo 33">
              <a:extLst>
                <a:ext uri="{FF2B5EF4-FFF2-40B4-BE49-F238E27FC236}">
                  <a16:creationId xmlns:a16="http://schemas.microsoft.com/office/drawing/2014/main" id="{86189F73-1CD3-4225-AEF2-EEA65C2FAC24}"/>
                </a:ext>
              </a:extLst>
            </p:cNvPr>
            <p:cNvSpPr/>
            <p:nvPr/>
          </p:nvSpPr>
          <p:spPr>
            <a:xfrm>
              <a:off x="6852749" y="3477337"/>
              <a:ext cx="2158410" cy="3338140"/>
            </a:xfrm>
            <a:prstGeom prst="rect">
              <a:avLst/>
            </a:prstGeom>
            <a:solidFill>
              <a:srgbClr val="D5DCEA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17" name="Rettangolo 16">
            <a:extLst>
              <a:ext uri="{FF2B5EF4-FFF2-40B4-BE49-F238E27FC236}">
                <a16:creationId xmlns:a16="http://schemas.microsoft.com/office/drawing/2014/main" id="{2F0BFC6C-BF54-4B35-A48D-F812951D56BC}"/>
              </a:ext>
            </a:extLst>
          </p:cNvPr>
          <p:cNvSpPr/>
          <p:nvPr/>
        </p:nvSpPr>
        <p:spPr>
          <a:xfrm>
            <a:off x="558787" y="2970191"/>
            <a:ext cx="13692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it-IT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endParaRPr lang="it-IT" sz="1600" b="1" dirty="0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CBEAEAFC-09F1-402D-9631-7DE9A22B79A4}"/>
              </a:ext>
            </a:extLst>
          </p:cNvPr>
          <p:cNvSpPr/>
          <p:nvPr/>
        </p:nvSpPr>
        <p:spPr>
          <a:xfrm>
            <a:off x="2397360" y="2871631"/>
            <a:ext cx="215149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002060"/>
              </a:buClr>
            </a:pPr>
            <a:r>
              <a:rPr lang="it-IT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zazione Attività </a:t>
            </a:r>
            <a:endParaRPr lang="it-IT" sz="1600" b="1" dirty="0">
              <a:solidFill>
                <a:schemeClr val="bg1"/>
              </a:solidFill>
            </a:endParaRPr>
          </a:p>
        </p:txBody>
      </p:sp>
      <p:sp>
        <p:nvSpPr>
          <p:cNvPr id="38" name="Rettangolo 37">
            <a:extLst>
              <a:ext uri="{FF2B5EF4-FFF2-40B4-BE49-F238E27FC236}">
                <a16:creationId xmlns:a16="http://schemas.microsoft.com/office/drawing/2014/main" id="{52B5DC52-9A98-4E4C-81B2-C7DE91DD8589}"/>
              </a:ext>
            </a:extLst>
          </p:cNvPr>
          <p:cNvSpPr/>
          <p:nvPr/>
        </p:nvSpPr>
        <p:spPr>
          <a:xfrm>
            <a:off x="4625110" y="2902982"/>
            <a:ext cx="215149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002060"/>
              </a:buClr>
            </a:pPr>
            <a:r>
              <a:rPr lang="it-IT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on prevalente - Identità </a:t>
            </a:r>
          </a:p>
        </p:txBody>
      </p:sp>
      <p:sp>
        <p:nvSpPr>
          <p:cNvPr id="39" name="Rettangolo 38">
            <a:extLst>
              <a:ext uri="{FF2B5EF4-FFF2-40B4-BE49-F238E27FC236}">
                <a16:creationId xmlns:a16="http://schemas.microsoft.com/office/drawing/2014/main" id="{9376478C-F098-426C-86BC-2AE4575320B1}"/>
              </a:ext>
            </a:extLst>
          </p:cNvPr>
          <p:cNvSpPr/>
          <p:nvPr/>
        </p:nvSpPr>
        <p:spPr>
          <a:xfrm>
            <a:off x="6838829" y="2957311"/>
            <a:ext cx="215149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002060"/>
              </a:buClr>
            </a:pPr>
            <a:r>
              <a:rPr lang="it-IT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involgimento</a:t>
            </a:r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A51636C8-029B-469F-BF75-671F8F9F569F}"/>
              </a:ext>
            </a:extLst>
          </p:cNvPr>
          <p:cNvSpPr/>
          <p:nvPr/>
        </p:nvSpPr>
        <p:spPr>
          <a:xfrm>
            <a:off x="2379451" y="3447222"/>
            <a:ext cx="2187311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2060"/>
              </a:buClr>
            </a:pPr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grazione e razionalizzazione dell’esistente (Gruppi di Lavoro, Tavoli di Coordinamento)</a:t>
            </a:r>
          </a:p>
          <a:p>
            <a:pPr marL="285750" indent="-285750" algn="ctr">
              <a:buClr>
                <a:srgbClr val="002060"/>
              </a:buClr>
              <a:buFont typeface="Wingdings" panose="05000000000000000000" pitchFamily="2" charset="2"/>
              <a:buChar char="ü"/>
            </a:pPr>
            <a:endParaRPr lang="it-IT" sz="1600" dirty="0">
              <a:solidFill>
                <a:srgbClr val="17375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>
              <a:buClr>
                <a:srgbClr val="002060"/>
              </a:buClr>
            </a:pPr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tivazione nuove strutture (Task Force)</a:t>
            </a:r>
          </a:p>
          <a:p>
            <a:pPr algn="ctr">
              <a:buClr>
                <a:srgbClr val="002060"/>
              </a:buClr>
            </a:pPr>
            <a:endParaRPr lang="it-IT" sz="1600" dirty="0">
              <a:solidFill>
                <a:srgbClr val="17375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>
              <a:buClr>
                <a:srgbClr val="002060"/>
              </a:buClr>
            </a:pPr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mento tavoli tecnici con le Istituzioni (ARERA, GSE, ecc.)</a:t>
            </a:r>
          </a:p>
        </p:txBody>
      </p:sp>
      <p:sp>
        <p:nvSpPr>
          <p:cNvPr id="45" name="Rettangolo 44">
            <a:extLst>
              <a:ext uri="{FF2B5EF4-FFF2-40B4-BE49-F238E27FC236}">
                <a16:creationId xmlns:a16="http://schemas.microsoft.com/office/drawing/2014/main" id="{076CF8F0-BEC5-4B83-8CF4-7CD4817EB694}"/>
              </a:ext>
            </a:extLst>
          </p:cNvPr>
          <p:cNvSpPr/>
          <p:nvPr/>
        </p:nvSpPr>
        <p:spPr>
          <a:xfrm>
            <a:off x="4586907" y="3427363"/>
            <a:ext cx="2288838" cy="326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2060"/>
              </a:buClr>
            </a:pPr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tenziamento </a:t>
            </a:r>
            <a:r>
              <a:rPr lang="it-IT" sz="1600" dirty="0" err="1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ocacy</a:t>
            </a:r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tituzioni centrali, regionali ed EU (</a:t>
            </a:r>
            <a:r>
              <a:rPr lang="it-IT" sz="1600" i="1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resentanza</a:t>
            </a:r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>
              <a:buClr>
                <a:srgbClr val="002060"/>
              </a:buClr>
            </a:pPr>
            <a:endParaRPr lang="it-IT" dirty="0">
              <a:solidFill>
                <a:srgbClr val="1737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rgbClr val="002060"/>
              </a:buClr>
            </a:pPr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ovo sito, Bollettini e Newsletter (</a:t>
            </a:r>
            <a:r>
              <a:rPr lang="it-IT" sz="1600" i="1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zione</a:t>
            </a:r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ctr">
              <a:buClr>
                <a:srgbClr val="002060"/>
              </a:buClr>
            </a:pPr>
            <a:endParaRPr lang="it-IT" sz="1600" dirty="0">
              <a:solidFill>
                <a:srgbClr val="1737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rgbClr val="002060"/>
              </a:buClr>
            </a:pPr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zionalizzazione, progetto Marocco, </a:t>
            </a:r>
            <a:r>
              <a:rPr lang="it-IT" sz="1600" dirty="0" err="1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adShow</a:t>
            </a:r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Sportello Aperto (</a:t>
            </a:r>
            <a:r>
              <a:rPr lang="it-IT" sz="1600" i="1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6" name="Rettangolo 45">
            <a:extLst>
              <a:ext uri="{FF2B5EF4-FFF2-40B4-BE49-F238E27FC236}">
                <a16:creationId xmlns:a16="http://schemas.microsoft.com/office/drawing/2014/main" id="{400B42FA-16CC-43F1-864B-D29337954162}"/>
              </a:ext>
            </a:extLst>
          </p:cNvPr>
          <p:cNvSpPr/>
          <p:nvPr/>
        </p:nvSpPr>
        <p:spPr>
          <a:xfrm>
            <a:off x="6893650" y="3465993"/>
            <a:ext cx="2157761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2060"/>
              </a:buClr>
            </a:pPr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ovi strumenti di indagine sul livello di soddisfazione</a:t>
            </a:r>
          </a:p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sociato del mese</a:t>
            </a:r>
          </a:p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mio dell’anno</a:t>
            </a:r>
          </a:p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stimonianze su periodici settoriali </a:t>
            </a:r>
          </a:p>
          <a:p>
            <a:pPr algn="ctr">
              <a:spcBef>
                <a:spcPts val="600"/>
              </a:spcBef>
              <a:buClr>
                <a:srgbClr val="002060"/>
              </a:buClr>
            </a:pPr>
            <a:r>
              <a:rPr lang="it-IT" sz="1600" dirty="0">
                <a:solidFill>
                  <a:srgbClr val="17375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lcome nuovi associati</a:t>
            </a:r>
          </a:p>
        </p:txBody>
      </p:sp>
      <p:sp>
        <p:nvSpPr>
          <p:cNvPr id="29" name="CasellaDiTesto 28"/>
          <p:cNvSpPr txBox="1"/>
          <p:nvPr/>
        </p:nvSpPr>
        <p:spPr>
          <a:xfrm>
            <a:off x="3281320" y="2338440"/>
            <a:ext cx="2132707" cy="30777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buClr>
                <a:srgbClr val="002060"/>
              </a:buClr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gregazione e conflitto</a:t>
            </a:r>
          </a:p>
        </p:txBody>
      </p:sp>
      <p:sp>
        <p:nvSpPr>
          <p:cNvPr id="47" name="CasellaDiTesto 46"/>
          <p:cNvSpPr txBox="1"/>
          <p:nvPr/>
        </p:nvSpPr>
        <p:spPr>
          <a:xfrm>
            <a:off x="5567192" y="2402826"/>
            <a:ext cx="1399899" cy="30777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buClr>
                <a:srgbClr val="002060"/>
              </a:buClr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issioni</a:t>
            </a:r>
          </a:p>
        </p:txBody>
      </p:sp>
      <p:sp>
        <p:nvSpPr>
          <p:cNvPr id="48" name="CasellaDiTesto 47"/>
          <p:cNvSpPr txBox="1"/>
          <p:nvPr/>
        </p:nvSpPr>
        <p:spPr>
          <a:xfrm>
            <a:off x="7110734" y="2457155"/>
            <a:ext cx="1274725" cy="31557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buClr>
                <a:srgbClr val="002060"/>
              </a:buClr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orrenza</a:t>
            </a:r>
          </a:p>
        </p:txBody>
      </p:sp>
    </p:spTree>
    <p:extLst>
      <p:ext uri="{BB962C8B-B14F-4D97-AF65-F5344CB8AC3E}">
        <p14:creationId xmlns:p14="http://schemas.microsoft.com/office/powerpoint/2010/main" val="23199882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olo 1">
            <a:extLst>
              <a:ext uri="{FF2B5EF4-FFF2-40B4-BE49-F238E27FC236}">
                <a16:creationId xmlns:a16="http://schemas.microsoft.com/office/drawing/2014/main" id="{BE83A6FD-993A-4605-8D43-F73D8CC2CA5C}"/>
              </a:ext>
            </a:extLst>
          </p:cNvPr>
          <p:cNvSpPr txBox="1">
            <a:spLocks/>
          </p:cNvSpPr>
          <p:nvPr/>
        </p:nvSpPr>
        <p:spPr>
          <a:xfrm>
            <a:off x="2196534" y="-117147"/>
            <a:ext cx="6777184" cy="87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spcFirstLastPara="1"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algn="r"/>
            <a:r>
              <a:rPr lang="it-IT" sz="2000" dirty="0">
                <a:solidFill>
                  <a:srgbClr val="002060"/>
                </a:solidFill>
              </a:rPr>
              <a:t>POST FUSIONE</a:t>
            </a:r>
          </a:p>
        </p:txBody>
      </p:sp>
      <p:grpSp>
        <p:nvGrpSpPr>
          <p:cNvPr id="39" name="Gruppo 38">
            <a:extLst>
              <a:ext uri="{FF2B5EF4-FFF2-40B4-BE49-F238E27FC236}">
                <a16:creationId xmlns:a16="http://schemas.microsoft.com/office/drawing/2014/main" id="{F3A8A318-AB32-4003-8A20-1949B9DD9E3B}"/>
              </a:ext>
            </a:extLst>
          </p:cNvPr>
          <p:cNvGrpSpPr/>
          <p:nvPr/>
        </p:nvGrpSpPr>
        <p:grpSpPr>
          <a:xfrm>
            <a:off x="2280618" y="839197"/>
            <a:ext cx="6258757" cy="400110"/>
            <a:chOff x="645148" y="937256"/>
            <a:chExt cx="6258757" cy="400110"/>
          </a:xfrm>
        </p:grpSpPr>
        <p:sp>
          <p:nvSpPr>
            <p:cNvPr id="18" name="Rettangolo 17">
              <a:extLst>
                <a:ext uri="{FF2B5EF4-FFF2-40B4-BE49-F238E27FC236}">
                  <a16:creationId xmlns:a16="http://schemas.microsoft.com/office/drawing/2014/main" id="{4EFA127B-2678-4C39-8F61-0DCE0533E679}"/>
                </a:ext>
              </a:extLst>
            </p:cNvPr>
            <p:cNvSpPr/>
            <p:nvPr/>
          </p:nvSpPr>
          <p:spPr>
            <a:xfrm>
              <a:off x="645148" y="937256"/>
              <a:ext cx="6258757" cy="40011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buClr>
                  <a:srgbClr val="002060"/>
                </a:buClr>
              </a:pPr>
              <a:r>
                <a:rPr lang="it-IT" sz="2000" b="1" dirty="0">
                  <a:solidFill>
                    <a:srgbClr val="1737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sociazione</a:t>
              </a:r>
              <a:r>
                <a:rPr lang="it-IT" sz="1800" b="1" dirty="0">
                  <a:solidFill>
                    <a:srgbClr val="1737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</a:t>
              </a:r>
              <a:r>
                <a:rPr lang="it-IT" sz="1800" dirty="0">
                  <a:solidFill>
                    <a:srgbClr val="1737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rganizzazione interna</a:t>
              </a:r>
            </a:p>
          </p:txBody>
        </p:sp>
        <p:cxnSp>
          <p:nvCxnSpPr>
            <p:cNvPr id="19" name="Connettore 2 18">
              <a:extLst>
                <a:ext uri="{FF2B5EF4-FFF2-40B4-BE49-F238E27FC236}">
                  <a16:creationId xmlns:a16="http://schemas.microsoft.com/office/drawing/2014/main" id="{5BAF042F-C1D9-4DE9-8517-0836BBC79A6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08929" y="1146156"/>
              <a:ext cx="507431" cy="2601"/>
            </a:xfrm>
            <a:prstGeom prst="straightConnector1">
              <a:avLst/>
            </a:prstGeom>
            <a:ln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uppo 19">
            <a:extLst>
              <a:ext uri="{FF2B5EF4-FFF2-40B4-BE49-F238E27FC236}">
                <a16:creationId xmlns:a16="http://schemas.microsoft.com/office/drawing/2014/main" id="{18FFECFA-B9EC-4FF6-B021-49AE104BCF89}"/>
              </a:ext>
            </a:extLst>
          </p:cNvPr>
          <p:cNvGrpSpPr/>
          <p:nvPr/>
        </p:nvGrpSpPr>
        <p:grpSpPr>
          <a:xfrm>
            <a:off x="1558256" y="1528349"/>
            <a:ext cx="1444724" cy="388354"/>
            <a:chOff x="2974020" y="1295421"/>
            <a:chExt cx="1444724" cy="388354"/>
          </a:xfrm>
        </p:grpSpPr>
        <p:sp>
          <p:nvSpPr>
            <p:cNvPr id="21" name="Rettangolo 20">
              <a:extLst>
                <a:ext uri="{FF2B5EF4-FFF2-40B4-BE49-F238E27FC236}">
                  <a16:creationId xmlns:a16="http://schemas.microsoft.com/office/drawing/2014/main" id="{7C531C02-AB4B-4E31-ADEB-1A0C4B18656D}"/>
                </a:ext>
              </a:extLst>
            </p:cNvPr>
            <p:cNvSpPr/>
            <p:nvPr/>
          </p:nvSpPr>
          <p:spPr>
            <a:xfrm>
              <a:off x="2974020" y="1314443"/>
              <a:ext cx="144472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Clr>
                  <a:srgbClr val="002060"/>
                </a:buClr>
              </a:pPr>
              <a:r>
                <a:rPr lang="it-IT" sz="1800" b="1" dirty="0">
                  <a:solidFill>
                    <a:srgbClr val="1737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Risk  </a:t>
              </a:r>
              <a:endParaRPr lang="it-IT" sz="16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2" name="Immagine 21">
              <a:extLst>
                <a:ext uri="{FF2B5EF4-FFF2-40B4-BE49-F238E27FC236}">
                  <a16:creationId xmlns:a16="http://schemas.microsoft.com/office/drawing/2014/main" id="{CD716701-2890-462F-A36B-E550CFCBF0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787" t="4780" r="10543" b="22738"/>
            <a:stretch/>
          </p:blipFill>
          <p:spPr>
            <a:xfrm>
              <a:off x="3053649" y="1295421"/>
              <a:ext cx="355966" cy="332188"/>
            </a:xfrm>
            <a:prstGeom prst="rect">
              <a:avLst/>
            </a:prstGeom>
          </p:spPr>
        </p:pic>
      </p:grpSp>
      <p:grpSp>
        <p:nvGrpSpPr>
          <p:cNvPr id="37" name="Gruppo 36">
            <a:extLst>
              <a:ext uri="{FF2B5EF4-FFF2-40B4-BE49-F238E27FC236}">
                <a16:creationId xmlns:a16="http://schemas.microsoft.com/office/drawing/2014/main" id="{0286A964-6836-4282-86FB-20296714CD4F}"/>
              </a:ext>
            </a:extLst>
          </p:cNvPr>
          <p:cNvGrpSpPr/>
          <p:nvPr/>
        </p:nvGrpSpPr>
        <p:grpSpPr>
          <a:xfrm rot="5161403">
            <a:off x="2247017" y="1389696"/>
            <a:ext cx="817376" cy="1594628"/>
            <a:chOff x="1562119" y="625117"/>
            <a:chExt cx="817376" cy="1594628"/>
          </a:xfrm>
        </p:grpSpPr>
        <p:cxnSp>
          <p:nvCxnSpPr>
            <p:cNvPr id="3" name="Connettore 2 2">
              <a:extLst>
                <a:ext uri="{FF2B5EF4-FFF2-40B4-BE49-F238E27FC236}">
                  <a16:creationId xmlns:a16="http://schemas.microsoft.com/office/drawing/2014/main" id="{1BB8BD35-7252-4968-92AC-A9976233C13C}"/>
                </a:ext>
              </a:extLst>
            </p:cNvPr>
            <p:cNvCxnSpPr>
              <a:cxnSpLocks/>
            </p:cNvCxnSpPr>
            <p:nvPr/>
          </p:nvCxnSpPr>
          <p:spPr>
            <a:xfrm rot="16438597">
              <a:off x="1177329" y="1009907"/>
              <a:ext cx="769580" cy="0"/>
            </a:xfrm>
            <a:prstGeom prst="straightConnector1">
              <a:avLst/>
            </a:prstGeom>
            <a:ln w="28575"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nettore 2 35">
              <a:extLst>
                <a:ext uri="{FF2B5EF4-FFF2-40B4-BE49-F238E27FC236}">
                  <a16:creationId xmlns:a16="http://schemas.microsoft.com/office/drawing/2014/main" id="{B254684B-50AC-4F8A-AAE7-7FE3ED714B94}"/>
                </a:ext>
              </a:extLst>
            </p:cNvPr>
            <p:cNvCxnSpPr>
              <a:cxnSpLocks/>
            </p:cNvCxnSpPr>
            <p:nvPr/>
          </p:nvCxnSpPr>
          <p:spPr>
            <a:xfrm rot="16438597" flipH="1">
              <a:off x="2053005" y="1893256"/>
              <a:ext cx="1" cy="652978"/>
            </a:xfrm>
            <a:prstGeom prst="straightConnector1">
              <a:avLst/>
            </a:prstGeom>
            <a:ln w="28575"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Rettangolo 37">
            <a:extLst>
              <a:ext uri="{FF2B5EF4-FFF2-40B4-BE49-F238E27FC236}">
                <a16:creationId xmlns:a16="http://schemas.microsoft.com/office/drawing/2014/main" id="{32F78750-6ECD-47BB-9B65-833A8CEA401E}"/>
              </a:ext>
            </a:extLst>
          </p:cNvPr>
          <p:cNvSpPr/>
          <p:nvPr/>
        </p:nvSpPr>
        <p:spPr>
          <a:xfrm>
            <a:off x="443345" y="2788889"/>
            <a:ext cx="2844800" cy="2134093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uttura Organizzativa: </a:t>
            </a:r>
          </a:p>
          <a:p>
            <a:pPr>
              <a:spcBef>
                <a:spcPts val="300"/>
              </a:spcBef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e sedi in città differenti</a:t>
            </a:r>
          </a:p>
          <a:p>
            <a:pPr>
              <a:spcBef>
                <a:spcPts val="300"/>
              </a:spcBef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oli in alcuni casi sovrapposti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ti non uniformi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Passaggio informativo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Scarso coordinamento funzioni</a:t>
            </a:r>
            <a:endParaRPr lang="it-IT" dirty="0">
              <a:solidFill>
                <a:srgbClr val="1737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2060"/>
              </a:buClr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Possibile c</a:t>
            </a: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flittualità interna</a:t>
            </a:r>
            <a:endParaRPr lang="it-IT" dirty="0"/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4F228635-9DEF-49EB-8EE6-6FC6FCD37E80}"/>
              </a:ext>
            </a:extLst>
          </p:cNvPr>
          <p:cNvSpPr/>
          <p:nvPr/>
        </p:nvSpPr>
        <p:spPr>
          <a:xfrm>
            <a:off x="3509316" y="1473845"/>
            <a:ext cx="4398001" cy="189510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2060"/>
              </a:buClr>
            </a:pPr>
            <a:r>
              <a:rPr lang="it-IT" b="1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Gestione Amministrativa: </a:t>
            </a:r>
          </a:p>
          <a:p>
            <a:pPr>
              <a:spcBef>
                <a:spcPts val="300"/>
              </a:spcBef>
              <a:buClr>
                <a:srgbClr val="002060"/>
              </a:buClr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istemi contributivi differenti</a:t>
            </a:r>
          </a:p>
          <a:p>
            <a:pPr>
              <a:spcBef>
                <a:spcPts val="300"/>
              </a:spcBef>
              <a:buClr>
                <a:srgbClr val="002060"/>
              </a:buClr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astità e disomogeneità dei dati associativi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2060"/>
              </a:buClr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orosità</a:t>
            </a:r>
          </a:p>
          <a:p>
            <a:pPr>
              <a:buClr>
                <a:srgbClr val="002060"/>
              </a:buClr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contento per variazioni del carico contributivo</a:t>
            </a:r>
          </a:p>
          <a:p>
            <a:pPr>
              <a:buClr>
                <a:srgbClr val="002060"/>
              </a:buClr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erimento e gestione dati affidabili</a:t>
            </a:r>
          </a:p>
          <a:p>
            <a:pPr>
              <a:buClr>
                <a:srgbClr val="002060"/>
              </a:buClr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dite in bilancio</a:t>
            </a:r>
          </a:p>
        </p:txBody>
      </p:sp>
      <p:grpSp>
        <p:nvGrpSpPr>
          <p:cNvPr id="73" name="Gruppo 72">
            <a:extLst>
              <a:ext uri="{FF2B5EF4-FFF2-40B4-BE49-F238E27FC236}">
                <a16:creationId xmlns:a16="http://schemas.microsoft.com/office/drawing/2014/main" id="{F82CD852-D646-494B-8A3C-07CEF8C3C602}"/>
              </a:ext>
            </a:extLst>
          </p:cNvPr>
          <p:cNvGrpSpPr/>
          <p:nvPr/>
        </p:nvGrpSpPr>
        <p:grpSpPr>
          <a:xfrm>
            <a:off x="3505600" y="3481790"/>
            <a:ext cx="4405435" cy="3285623"/>
            <a:chOff x="3916567" y="3177827"/>
            <a:chExt cx="4405435" cy="3285623"/>
          </a:xfrm>
        </p:grpSpPr>
        <p:grpSp>
          <p:nvGrpSpPr>
            <p:cNvPr id="56" name="Gruppo 55">
              <a:extLst>
                <a:ext uri="{FF2B5EF4-FFF2-40B4-BE49-F238E27FC236}">
                  <a16:creationId xmlns:a16="http://schemas.microsoft.com/office/drawing/2014/main" id="{2FE17A63-B282-44F5-A48E-E359F7FAF5BC}"/>
                </a:ext>
              </a:extLst>
            </p:cNvPr>
            <p:cNvGrpSpPr/>
            <p:nvPr/>
          </p:nvGrpSpPr>
          <p:grpSpPr>
            <a:xfrm>
              <a:off x="3916567" y="3177827"/>
              <a:ext cx="4401718" cy="516221"/>
              <a:chOff x="143474" y="3022213"/>
              <a:chExt cx="4401718" cy="584875"/>
            </a:xfrm>
          </p:grpSpPr>
          <p:sp>
            <p:nvSpPr>
              <p:cNvPr id="61" name="Rettangolo 60">
                <a:extLst>
                  <a:ext uri="{FF2B5EF4-FFF2-40B4-BE49-F238E27FC236}">
                    <a16:creationId xmlns:a16="http://schemas.microsoft.com/office/drawing/2014/main" id="{8772EDF5-135D-465D-95E9-92BA703284DF}"/>
                  </a:ext>
                </a:extLst>
              </p:cNvPr>
              <p:cNvSpPr/>
              <p:nvPr/>
            </p:nvSpPr>
            <p:spPr>
              <a:xfrm>
                <a:off x="143474" y="3022213"/>
                <a:ext cx="2158410" cy="583154"/>
              </a:xfrm>
              <a:prstGeom prst="rect">
                <a:avLst/>
              </a:prstGeom>
              <a:solidFill>
                <a:srgbClr val="00206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62" name="Rettangolo 61">
                <a:extLst>
                  <a:ext uri="{FF2B5EF4-FFF2-40B4-BE49-F238E27FC236}">
                    <a16:creationId xmlns:a16="http://schemas.microsoft.com/office/drawing/2014/main" id="{FC81B7C4-5EB7-4376-AD57-60FA03BD3232}"/>
                  </a:ext>
                </a:extLst>
              </p:cNvPr>
              <p:cNvSpPr/>
              <p:nvPr/>
            </p:nvSpPr>
            <p:spPr>
              <a:xfrm>
                <a:off x="2386782" y="3023935"/>
                <a:ext cx="2158410" cy="583153"/>
              </a:xfrm>
              <a:prstGeom prst="rect">
                <a:avLst/>
              </a:prstGeom>
              <a:solidFill>
                <a:srgbClr val="00206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</p:grpSp>
        <p:sp>
          <p:nvSpPr>
            <p:cNvPr id="57" name="Rettangolo 56">
              <a:extLst>
                <a:ext uri="{FF2B5EF4-FFF2-40B4-BE49-F238E27FC236}">
                  <a16:creationId xmlns:a16="http://schemas.microsoft.com/office/drawing/2014/main" id="{5FCF8FB2-B7E8-4D59-8550-F21075001D93}"/>
                </a:ext>
              </a:extLst>
            </p:cNvPr>
            <p:cNvSpPr/>
            <p:nvPr/>
          </p:nvSpPr>
          <p:spPr>
            <a:xfrm>
              <a:off x="3916567" y="3643325"/>
              <a:ext cx="2158410" cy="2820125"/>
            </a:xfrm>
            <a:prstGeom prst="rect">
              <a:avLst/>
            </a:prstGeom>
            <a:solidFill>
              <a:srgbClr val="D5DCEA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58" name="Rettangolo 57">
              <a:extLst>
                <a:ext uri="{FF2B5EF4-FFF2-40B4-BE49-F238E27FC236}">
                  <a16:creationId xmlns:a16="http://schemas.microsoft.com/office/drawing/2014/main" id="{131B3271-8EC1-4850-BFC9-A4FB40DB01BA}"/>
                </a:ext>
              </a:extLst>
            </p:cNvPr>
            <p:cNvSpPr/>
            <p:nvPr/>
          </p:nvSpPr>
          <p:spPr>
            <a:xfrm>
              <a:off x="6163592" y="3646452"/>
              <a:ext cx="2158410" cy="2816227"/>
            </a:xfrm>
            <a:prstGeom prst="rect">
              <a:avLst/>
            </a:prstGeom>
            <a:solidFill>
              <a:srgbClr val="D5DCEA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</p:grpSp>
      <p:sp>
        <p:nvSpPr>
          <p:cNvPr id="74" name="Rettangolo 73">
            <a:extLst>
              <a:ext uri="{FF2B5EF4-FFF2-40B4-BE49-F238E27FC236}">
                <a16:creationId xmlns:a16="http://schemas.microsoft.com/office/drawing/2014/main" id="{5846A510-BBC6-4314-BB8D-36968B00D9FD}"/>
              </a:ext>
            </a:extLst>
          </p:cNvPr>
          <p:cNvSpPr/>
          <p:nvPr/>
        </p:nvSpPr>
        <p:spPr>
          <a:xfrm>
            <a:off x="3546191" y="3434219"/>
            <a:ext cx="215841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it-IT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uttura Organizzativa</a:t>
            </a:r>
            <a:endParaRPr lang="it-IT" sz="1500" b="1" dirty="0"/>
          </a:p>
        </p:txBody>
      </p:sp>
      <p:sp>
        <p:nvSpPr>
          <p:cNvPr id="75" name="Rettangolo 74">
            <a:extLst>
              <a:ext uri="{FF2B5EF4-FFF2-40B4-BE49-F238E27FC236}">
                <a16:creationId xmlns:a16="http://schemas.microsoft.com/office/drawing/2014/main" id="{97D28FCE-FEC2-4D89-B193-41DFBD5B1B0E}"/>
              </a:ext>
            </a:extLst>
          </p:cNvPr>
          <p:cNvSpPr/>
          <p:nvPr/>
        </p:nvSpPr>
        <p:spPr>
          <a:xfrm>
            <a:off x="5696323" y="3442494"/>
            <a:ext cx="215841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it-IT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one Amministrativa</a:t>
            </a:r>
            <a:endParaRPr lang="it-IT" sz="1500" b="1" dirty="0"/>
          </a:p>
        </p:txBody>
      </p:sp>
      <p:sp>
        <p:nvSpPr>
          <p:cNvPr id="76" name="Rettangolo 75">
            <a:extLst>
              <a:ext uri="{FF2B5EF4-FFF2-40B4-BE49-F238E27FC236}">
                <a16:creationId xmlns:a16="http://schemas.microsoft.com/office/drawing/2014/main" id="{43BDC991-7745-4D7D-A03B-EC62EFA9D091}"/>
              </a:ext>
            </a:extLst>
          </p:cNvPr>
          <p:cNvSpPr/>
          <p:nvPr/>
        </p:nvSpPr>
        <p:spPr>
          <a:xfrm>
            <a:off x="3536415" y="3982655"/>
            <a:ext cx="2060822" cy="28469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assetto funzioni (nuova Area marketing)</a:t>
            </a:r>
          </a:p>
          <a:p>
            <a:pPr marL="342900" indent="-342900">
              <a:spcBef>
                <a:spcPts val="600"/>
              </a:spcBef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ficazione contratto</a:t>
            </a:r>
          </a:p>
          <a:p>
            <a:pPr marL="342900" indent="-342900">
              <a:spcBef>
                <a:spcPts val="600"/>
              </a:spcBef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unioni di staff e trasferte RM/MI</a:t>
            </a:r>
          </a:p>
          <a:p>
            <a:pPr marL="342900" indent="-342900">
              <a:spcBef>
                <a:spcPts val="600"/>
              </a:spcBef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am Building</a:t>
            </a:r>
          </a:p>
          <a:p>
            <a:pPr marL="342900" indent="-342900">
              <a:spcBef>
                <a:spcPts val="600"/>
              </a:spcBef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zzazione server virtuale comune</a:t>
            </a:r>
          </a:p>
        </p:txBody>
      </p:sp>
      <p:sp>
        <p:nvSpPr>
          <p:cNvPr id="77" name="Rettangolo 76">
            <a:extLst>
              <a:ext uri="{FF2B5EF4-FFF2-40B4-BE49-F238E27FC236}">
                <a16:creationId xmlns:a16="http://schemas.microsoft.com/office/drawing/2014/main" id="{B38F5B0E-6883-4E24-B242-D9BC0CE00ECC}"/>
              </a:ext>
            </a:extLst>
          </p:cNvPr>
          <p:cNvSpPr/>
          <p:nvPr/>
        </p:nvSpPr>
        <p:spPr>
          <a:xfrm>
            <a:off x="5733643" y="4026685"/>
            <a:ext cx="2083770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elamento sistemi contributivi nel transitorio e nuova delibera 2019 di «mantenimento»</a:t>
            </a:r>
          </a:p>
          <a:p>
            <a:pPr marL="285750" indent="-285750">
              <a:spcBef>
                <a:spcPts val="600"/>
              </a:spcBef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Utilizzo di nuovi strumenti di supporto gestionale ed del credito</a:t>
            </a:r>
          </a:p>
          <a:p>
            <a:pPr marL="285750" indent="-285750">
              <a:spcBef>
                <a:spcPts val="600"/>
              </a:spcBef>
              <a:buClr>
                <a:srgbClr val="002060"/>
              </a:buClr>
              <a:buFont typeface="Wingdings" panose="05000000000000000000" pitchFamily="2" charset="2"/>
              <a:buChar char="ü"/>
            </a:pPr>
            <a:r>
              <a:rPr lang="it-IT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iattivazione </a:t>
            </a:r>
            <a:r>
              <a:rPr lang="it-IT" dirty="0" err="1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ypage</a:t>
            </a:r>
            <a:endParaRPr lang="it-IT" dirty="0">
              <a:solidFill>
                <a:srgbClr val="1737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23520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ma 8">
            <a:extLst>
              <a:ext uri="{FF2B5EF4-FFF2-40B4-BE49-F238E27FC236}">
                <a16:creationId xmlns:a16="http://schemas.microsoft.com/office/drawing/2014/main" id="{E80DC89A-1251-47DE-BDF9-9DF587BB50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1482721"/>
              </p:ext>
            </p:extLst>
          </p:nvPr>
        </p:nvGraphicFramePr>
        <p:xfrm>
          <a:off x="405969" y="2074840"/>
          <a:ext cx="8372907" cy="46876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olo 1">
            <a:extLst>
              <a:ext uri="{FF2B5EF4-FFF2-40B4-BE49-F238E27FC236}">
                <a16:creationId xmlns:a16="http://schemas.microsoft.com/office/drawing/2014/main" id="{C3CDEE9E-9902-4BB9-9705-43AE11D9538E}"/>
              </a:ext>
            </a:extLst>
          </p:cNvPr>
          <p:cNvSpPr txBox="1">
            <a:spLocks/>
          </p:cNvSpPr>
          <p:nvPr/>
        </p:nvSpPr>
        <p:spPr bwMode="auto">
          <a:xfrm>
            <a:off x="1979712" y="116632"/>
            <a:ext cx="6502437" cy="442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it-IT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iettivi dell’Associazione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82650091-9762-4D8C-BEAB-0481E3A476AE}"/>
              </a:ext>
            </a:extLst>
          </p:cNvPr>
          <p:cNvSpPr/>
          <p:nvPr/>
        </p:nvSpPr>
        <p:spPr>
          <a:xfrm>
            <a:off x="677618" y="1297870"/>
            <a:ext cx="233749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2000" b="1" dirty="0">
                <a:solidFill>
                  <a:srgbClr val="17375E"/>
                </a:solidFill>
              </a:rPr>
              <a:t>Prossimi passi </a:t>
            </a:r>
            <a:r>
              <a:rPr lang="it-IT" sz="2000" b="1" dirty="0">
                <a:solidFill>
                  <a:srgbClr val="17375E"/>
                </a:solidFill>
                <a:sym typeface="Wingdings" panose="05000000000000000000" pitchFamily="2" charset="2"/>
              </a:rPr>
              <a:t></a:t>
            </a:r>
            <a:endParaRPr lang="it-IT" sz="2000" dirty="0">
              <a:solidFill>
                <a:srgbClr val="17375E"/>
              </a:solidFill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63D1D7EF-807A-4E30-9458-F6BD4B5FF41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600" t="31985" r="85733" b="44910"/>
          <a:stretch/>
        </p:blipFill>
        <p:spPr>
          <a:xfrm>
            <a:off x="3092545" y="934107"/>
            <a:ext cx="997200" cy="1036770"/>
          </a:xfrm>
          <a:prstGeom prst="rect">
            <a:avLst/>
          </a:prstGeom>
        </p:spPr>
      </p:pic>
      <p:pic>
        <p:nvPicPr>
          <p:cNvPr id="8194" name="Picture 2" descr="Risultati immagini per influencer icon">
            <a:extLst>
              <a:ext uri="{FF2B5EF4-FFF2-40B4-BE49-F238E27FC236}">
                <a16:creationId xmlns:a16="http://schemas.microsoft.com/office/drawing/2014/main" id="{57D12FB9-0E8A-44DB-8BA0-0A4AAE2D24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277" t="3990" r="19056" b="74669"/>
          <a:stretch/>
        </p:blipFill>
        <p:spPr bwMode="auto">
          <a:xfrm>
            <a:off x="4858677" y="976745"/>
            <a:ext cx="1065600" cy="1023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Risultati immagini per influencer icon">
            <a:extLst>
              <a:ext uri="{FF2B5EF4-FFF2-40B4-BE49-F238E27FC236}">
                <a16:creationId xmlns:a16="http://schemas.microsoft.com/office/drawing/2014/main" id="{FFFE9BE3-FDC8-4B84-9A73-9BBC6D9558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99" t="2709" r="35734" b="74540"/>
          <a:stretch/>
        </p:blipFill>
        <p:spPr bwMode="auto">
          <a:xfrm>
            <a:off x="6880448" y="917277"/>
            <a:ext cx="998624" cy="102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uppo 12">
            <a:extLst>
              <a:ext uri="{FF2B5EF4-FFF2-40B4-BE49-F238E27FC236}">
                <a16:creationId xmlns:a16="http://schemas.microsoft.com/office/drawing/2014/main" id="{932A2171-01E5-424E-95C0-83A80C2DE894}"/>
              </a:ext>
            </a:extLst>
          </p:cNvPr>
          <p:cNvGrpSpPr/>
          <p:nvPr/>
        </p:nvGrpSpPr>
        <p:grpSpPr>
          <a:xfrm>
            <a:off x="3141807" y="2023720"/>
            <a:ext cx="5120740" cy="464150"/>
            <a:chOff x="3141807" y="2023720"/>
            <a:chExt cx="5120740" cy="464150"/>
          </a:xfrm>
        </p:grpSpPr>
        <p:sp>
          <p:nvSpPr>
            <p:cNvPr id="12" name="Rettangolo 11">
              <a:extLst>
                <a:ext uri="{FF2B5EF4-FFF2-40B4-BE49-F238E27FC236}">
                  <a16:creationId xmlns:a16="http://schemas.microsoft.com/office/drawing/2014/main" id="{B3EE9231-E7CA-4E51-9768-C7B3326901A4}"/>
                </a:ext>
              </a:extLst>
            </p:cNvPr>
            <p:cNvSpPr/>
            <p:nvPr/>
          </p:nvSpPr>
          <p:spPr>
            <a:xfrm>
              <a:off x="3141807" y="2045656"/>
              <a:ext cx="947938" cy="420278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600" b="1" dirty="0">
                  <a:solidFill>
                    <a:srgbClr val="1737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and</a:t>
              </a:r>
              <a:endParaRPr lang="it-IT" sz="1600" dirty="0"/>
            </a:p>
          </p:txBody>
        </p:sp>
        <p:sp>
          <p:nvSpPr>
            <p:cNvPr id="15" name="Rettangolo 14">
              <a:extLst>
                <a:ext uri="{FF2B5EF4-FFF2-40B4-BE49-F238E27FC236}">
                  <a16:creationId xmlns:a16="http://schemas.microsoft.com/office/drawing/2014/main" id="{3FAC7F00-84A7-475C-AF62-B73F57490873}"/>
                </a:ext>
              </a:extLst>
            </p:cNvPr>
            <p:cNvSpPr/>
            <p:nvPr/>
          </p:nvSpPr>
          <p:spPr>
            <a:xfrm>
              <a:off x="4858677" y="2045656"/>
              <a:ext cx="1065600" cy="442214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600" b="1" dirty="0">
                  <a:solidFill>
                    <a:srgbClr val="1737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tà</a:t>
              </a:r>
              <a:endParaRPr lang="it-IT" sz="1600" dirty="0"/>
            </a:p>
          </p:txBody>
        </p:sp>
        <p:sp>
          <p:nvSpPr>
            <p:cNvPr id="16" name="Rettangolo 15">
              <a:extLst>
                <a:ext uri="{FF2B5EF4-FFF2-40B4-BE49-F238E27FC236}">
                  <a16:creationId xmlns:a16="http://schemas.microsoft.com/office/drawing/2014/main" id="{D3947CA9-B851-44D4-889B-42A151159E1C}"/>
                </a:ext>
              </a:extLst>
            </p:cNvPr>
            <p:cNvSpPr/>
            <p:nvPr/>
          </p:nvSpPr>
          <p:spPr>
            <a:xfrm>
              <a:off x="6570920" y="2023720"/>
              <a:ext cx="1691627" cy="442214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500" b="1" dirty="0">
                  <a:solidFill>
                    <a:srgbClr val="1737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orevolezza </a:t>
              </a:r>
              <a:r>
                <a:rPr lang="it-IT" sz="1500" b="1" dirty="0">
                  <a:solidFill>
                    <a:srgbClr val="17375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 Influenza</a:t>
              </a:r>
              <a:endParaRPr lang="it-IT" sz="1500" dirty="0"/>
            </a:p>
          </p:txBody>
        </p:sp>
      </p:grpSp>
    </p:spTree>
    <p:extLst>
      <p:ext uri="{BB962C8B-B14F-4D97-AF65-F5344CB8AC3E}">
        <p14:creationId xmlns:p14="http://schemas.microsoft.com/office/powerpoint/2010/main" val="19456056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0" name="Google Shape;1200;p74"/>
          <p:cNvSpPr txBox="1">
            <a:spLocks noGrp="1"/>
          </p:cNvSpPr>
          <p:nvPr>
            <p:ph type="title"/>
          </p:nvPr>
        </p:nvSpPr>
        <p:spPr>
          <a:xfrm>
            <a:off x="178563" y="1017092"/>
            <a:ext cx="8786874" cy="2227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/>
            <a:r>
              <a:rPr lang="it-IT" sz="2400" dirty="0">
                <a:solidFill>
                  <a:srgbClr val="002060"/>
                </a:solidFill>
              </a:rPr>
              <a:t>Roberta Valenziani</a:t>
            </a:r>
            <a:br>
              <a:rPr lang="it-IT" sz="2400" dirty="0">
                <a:solidFill>
                  <a:srgbClr val="002060"/>
                </a:solidFill>
              </a:rPr>
            </a:br>
            <a:r>
              <a:rPr lang="it-IT" sz="2400" dirty="0">
                <a:solidFill>
                  <a:srgbClr val="002060"/>
                </a:solidFill>
              </a:rPr>
              <a:t/>
            </a:r>
            <a:br>
              <a:rPr lang="it-IT" sz="2400" dirty="0">
                <a:solidFill>
                  <a:srgbClr val="002060"/>
                </a:solidFill>
              </a:rPr>
            </a:br>
            <a:r>
              <a:rPr lang="it-IT" sz="2400" dirty="0">
                <a:solidFill>
                  <a:srgbClr val="002060"/>
                </a:solidFill>
              </a:rPr>
              <a:t>roberta.valenziani@elettricitafutura.it</a:t>
            </a:r>
            <a:br>
              <a:rPr lang="it-IT" sz="2400" dirty="0">
                <a:solidFill>
                  <a:srgbClr val="002060"/>
                </a:solidFill>
              </a:rPr>
            </a:br>
            <a:endParaRPr sz="2400" dirty="0">
              <a:solidFill>
                <a:srgbClr val="002060"/>
              </a:solidFill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915D9552-3552-473C-B6D6-A04EC49AE1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41172" y="3785818"/>
            <a:ext cx="5461657" cy="3072182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52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02&quot; g=&quot;77&quot; b=&quot;4B&quot;/&gt;&lt;m_nBrightness tagver0=&quot;26206&quot; tagname0=&quot;m_nBrightnessUNRECOGNIZED&quot; val=&quot;0&quot;/&gt;&lt;/elem&gt;&lt;elem m_fUsage=&quot;9.00000000000000022204E-01&quot;&gt;&lt;m_msothmcolidx val=&quot;0&quot;/&gt;&lt;m_rgb r=&quot;55&quot; g=&quot;BD&quot; b=&quot;5A&quot;/&gt;&lt;m_nBrightness tagver0=&quot;26206&quot; tagname0=&quot;m_nBrightnessUNRECOGNIZED&quot; val=&quot;0&quot;/&gt;&lt;/elem&gt;&lt;elem m_fUsage=&quot;8.10000000000000053291E-01&quot;&gt;&lt;m_msothmcolidx val=&quot;0&quot;/&gt;&lt;m_rgb r=&quot;03&quot; g=&quot;B6&quot; b=&quot;73&quot;/&gt;&lt;m_nBrightness tagver0=&quot;26206&quot; tagname0=&quot;m_nBrightnessUNRECOGNIZED&quot; val=&quot;0&quot;/&gt;&lt;/elem&gt;&lt;elem m_fUsage=&quot;7.29000000000000092371E-01&quot;&gt;&lt;m_msothmcolidx val=&quot;0&quot;/&gt;&lt;m_rgb r=&quot;2C&quot; g=&quot;A6&quot; b=&quot;E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resentazione standard1 (2)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Presentazione standard1 (2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56</Words>
  <Application>Microsoft Office PowerPoint</Application>
  <PresentationFormat>Presentazione su schermo (4:3)</PresentationFormat>
  <Paragraphs>112</Paragraphs>
  <Slides>7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7</vt:i4>
      </vt:variant>
    </vt:vector>
  </HeadingPairs>
  <TitlesOfParts>
    <vt:vector size="13" baseType="lpstr">
      <vt:lpstr>Wingdings</vt:lpstr>
      <vt:lpstr>Calibri</vt:lpstr>
      <vt:lpstr>Arial</vt:lpstr>
      <vt:lpstr>1_Presentazione standard1 (2)</vt:lpstr>
      <vt:lpstr>2_Presentazione standard1 (2)</vt:lpstr>
      <vt:lpstr>Diapositiva think-cell</vt:lpstr>
      <vt:lpstr> Meeting Categorie Confindustria  LA FILIERA ELETTRICA ITALIANA:                                         INTEGRAZIONE DI SUCCESSO L'impatto sul marketing associativo  Roberta Valenziani Responsabile Affari e Servizi Associativi Milano, 15 maggio 2019 </vt:lpstr>
      <vt:lpstr>Presentazione standard di PowerPoint</vt:lpstr>
      <vt:lpstr>Chi siamo</vt:lpstr>
      <vt:lpstr>Presentazione standard di PowerPoint</vt:lpstr>
      <vt:lpstr>Presentazione standard di PowerPoint</vt:lpstr>
      <vt:lpstr>Presentazione standard di PowerPoint</vt:lpstr>
      <vt:lpstr>Roberta Valenziani  roberta.valenziani@elettricitafutura.it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modified xsi:type="dcterms:W3CDTF">2019-05-13T16:01:09Z</dcterms:modified>
</cp:coreProperties>
</file>